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894" r:id="rId5"/>
    <p:sldMasterId id="2147483680" r:id="rId6"/>
    <p:sldMasterId id="2147483749" r:id="rId7"/>
  </p:sldMasterIdLst>
  <p:notesMasterIdLst>
    <p:notesMasterId r:id="rId45"/>
  </p:notesMasterIdLst>
  <p:sldIdLst>
    <p:sldId id="1597" r:id="rId8"/>
    <p:sldId id="1463" r:id="rId9"/>
    <p:sldId id="1659" r:id="rId10"/>
    <p:sldId id="1552" r:id="rId11"/>
    <p:sldId id="1553" r:id="rId12"/>
    <p:sldId id="1554" r:id="rId13"/>
    <p:sldId id="1555" r:id="rId14"/>
    <p:sldId id="1556" r:id="rId15"/>
    <p:sldId id="1677" r:id="rId16"/>
    <p:sldId id="1678" r:id="rId17"/>
    <p:sldId id="1575" r:id="rId18"/>
    <p:sldId id="1565" r:id="rId19"/>
    <p:sldId id="1570" r:id="rId20"/>
    <p:sldId id="1584" r:id="rId21"/>
    <p:sldId id="291" r:id="rId22"/>
    <p:sldId id="1666" r:id="rId23"/>
    <p:sldId id="1660" r:id="rId24"/>
    <p:sldId id="1665" r:id="rId25"/>
    <p:sldId id="1663" r:id="rId26"/>
    <p:sldId id="279" r:id="rId27"/>
    <p:sldId id="1679" r:id="rId28"/>
    <p:sldId id="1591" r:id="rId29"/>
    <p:sldId id="259" r:id="rId30"/>
    <p:sldId id="260" r:id="rId31"/>
    <p:sldId id="261" r:id="rId32"/>
    <p:sldId id="262" r:id="rId33"/>
    <p:sldId id="1582" r:id="rId34"/>
    <p:sldId id="1670" r:id="rId35"/>
    <p:sldId id="1655" r:id="rId36"/>
    <p:sldId id="1661" r:id="rId37"/>
    <p:sldId id="1583" r:id="rId38"/>
    <p:sldId id="1662" r:id="rId39"/>
    <p:sldId id="1593" r:id="rId40"/>
    <p:sldId id="1464" r:id="rId41"/>
    <p:sldId id="1671" r:id="rId42"/>
    <p:sldId id="1658" r:id="rId43"/>
    <p:sldId id="146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677"/>
            <p14:sldId id="1678"/>
            <p14:sldId id="1575"/>
            <p14:sldId id="1565"/>
          </p14:sldIdLst>
        </p14:section>
        <p14:section name="Functions" id="{BE9EC3A0-011D-4ED4-9103-9E5274AD4E0F}">
          <p14:sldIdLst>
            <p14:sldId id="1570"/>
            <p14:sldId id="1584"/>
            <p14:sldId id="291"/>
            <p14:sldId id="1666"/>
            <p14:sldId id="1660"/>
            <p14:sldId id="1665"/>
            <p14:sldId id="1663"/>
            <p14:sldId id="279"/>
            <p14:sldId id="1679"/>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583"/>
            <p14:sldId id="1662"/>
          </p14:sldIdLst>
        </p14:section>
        <p14:section name="Final Demo" id="{E5A8F799-1971-4698-9C8B-DFC23C63CA65}">
          <p14:sldIdLst>
            <p14:sldId id="1593"/>
          </p14:sldIdLst>
        </p14:section>
        <p14:section name="Closing" id="{D19A78CC-12A7-48D0-A378-E2753E2E9CCC}">
          <p14:sldIdLst>
            <p14:sldId id="1464"/>
            <p14:sldId id="1671"/>
            <p14:sldId id="1658"/>
            <p14:sldId id="1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99"/>
    <a:srgbClr val="0078D7"/>
    <a:srgbClr val="004B1C"/>
    <a:srgbClr val="008000"/>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72313" autoAdjust="0"/>
  </p:normalViewPr>
  <p:slideViewPr>
    <p:cSldViewPr snapToGrid="0">
      <p:cViewPr varScale="1">
        <p:scale>
          <a:sx n="78" d="100"/>
          <a:sy n="78" d="100"/>
        </p:scale>
        <p:origin x="561" y="2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heme" Target="theme/theme1.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Collier" userId="c2873510-4a44-4d85-aef3-d7e8e051fe69" providerId="ADAL" clId="{CB384C6B-A00D-433E-855E-730CF8DB42CF}"/>
    <pc:docChg chg="undo custSel addSld delSld modSld sldOrd delMainMaster modMainMaster modSection">
      <pc:chgData name="Michael Collier" userId="c2873510-4a44-4d85-aef3-d7e8e051fe69" providerId="ADAL" clId="{CB384C6B-A00D-433E-855E-730CF8DB42CF}" dt="2018-03-09T03:51:48.253" v="4065"/>
      <pc:docMkLst>
        <pc:docMk/>
      </pc:docMkLst>
      <pc:sldChg chg="modNotesTx">
        <pc:chgData name="Michael Collier" userId="c2873510-4a44-4d85-aef3-d7e8e051fe69" providerId="ADAL" clId="{CB384C6B-A00D-433E-855E-730CF8DB42CF}" dt="2018-03-09T02:34:41.051" v="3238" actId="20577"/>
        <pc:sldMkLst>
          <pc:docMk/>
          <pc:sldMk cId="3826109755" sldId="259"/>
        </pc:sldMkLst>
      </pc:sldChg>
      <pc:sldChg chg="addSp modSp modAnim">
        <pc:chgData name="Michael Collier" userId="c2873510-4a44-4d85-aef3-d7e8e051fe69" providerId="ADAL" clId="{CB384C6B-A00D-433E-855E-730CF8DB42CF}" dt="2018-03-07T20:42:45.279" v="1476" actId="1076"/>
        <pc:sldMkLst>
          <pc:docMk/>
          <pc:sldMk cId="3015488624" sldId="291"/>
        </pc:sldMkLst>
        <pc:spChg chg="add mod ord">
          <ac:chgData name="Michael Collier" userId="c2873510-4a44-4d85-aef3-d7e8e051fe69" providerId="ADAL" clId="{CB384C6B-A00D-433E-855E-730CF8DB42CF}" dt="2018-03-07T20:42:06.107" v="1473" actId="167"/>
          <ac:spMkLst>
            <pc:docMk/>
            <pc:sldMk cId="3015488624" sldId="291"/>
            <ac:spMk id="2" creationId="{C63A9B13-2CFE-4C94-8410-49A19CF01105}"/>
          </ac:spMkLst>
        </pc:spChg>
        <pc:spChg chg="mod">
          <ac:chgData name="Michael Collier" userId="c2873510-4a44-4d85-aef3-d7e8e051fe69" providerId="ADAL" clId="{CB384C6B-A00D-433E-855E-730CF8DB42CF}" dt="2018-03-07T20:40:27.596" v="1456" actId="255"/>
          <ac:spMkLst>
            <pc:docMk/>
            <pc:sldMk cId="3015488624" sldId="291"/>
            <ac:spMk id="31" creationId="{D69B9DA0-50A6-2D40-9ED8-BE602120876D}"/>
          </ac:spMkLst>
        </pc:spChg>
        <pc:grpChg chg="mod ord">
          <ac:chgData name="Michael Collier" userId="c2873510-4a44-4d85-aef3-d7e8e051fe69" providerId="ADAL" clId="{CB384C6B-A00D-433E-855E-730CF8DB42CF}" dt="2018-03-07T20:42:09.894" v="1474" actId="166"/>
          <ac:grpSpMkLst>
            <pc:docMk/>
            <pc:sldMk cId="3015488624" sldId="291"/>
            <ac:grpSpMk id="32" creationId="{2E8FFFD2-1E07-F442-B390-CFD0EDEFCE34}"/>
          </ac:grpSpMkLst>
        </pc:grpChg>
        <pc:picChg chg="mod">
          <ac:chgData name="Michael Collier" userId="c2873510-4a44-4d85-aef3-d7e8e051fe69" providerId="ADAL" clId="{CB384C6B-A00D-433E-855E-730CF8DB42CF}" dt="2018-03-07T20:40:44.771" v="1461" actId="1076"/>
          <ac:picMkLst>
            <pc:docMk/>
            <pc:sldMk cId="3015488624" sldId="291"/>
            <ac:picMk id="35" creationId="{B5C4F162-1E09-8545-9C3E-C06F0E713ACE}"/>
          </ac:picMkLst>
        </pc:picChg>
      </pc:sldChg>
      <pc:sldChg chg="ord">
        <pc:chgData name="Michael Collier" userId="c2873510-4a44-4d85-aef3-d7e8e051fe69" providerId="ADAL" clId="{CB384C6B-A00D-433E-855E-730CF8DB42CF}" dt="2018-03-09T03:51:48.253" v="4065"/>
        <pc:sldMkLst>
          <pc:docMk/>
          <pc:sldMk cId="230148450" sldId="301"/>
        </pc:sldMkLst>
      </pc:sldChg>
      <pc:sldChg chg="addSp delSp modSp del modTransition">
        <pc:chgData name="Michael Collier" userId="c2873510-4a44-4d85-aef3-d7e8e051fe69" providerId="ADAL" clId="{CB384C6B-A00D-433E-855E-730CF8DB42CF}" dt="2018-03-09T03:16:13.593" v="3880" actId="2696"/>
        <pc:sldMkLst>
          <pc:docMk/>
          <pc:sldMk cId="2827142831" sldId="301"/>
        </pc:sldMkLst>
        <pc:spChg chg="mod">
          <ac:chgData name="Michael Collier" userId="c2873510-4a44-4d85-aef3-d7e8e051fe69" providerId="ADAL" clId="{CB384C6B-A00D-433E-855E-730CF8DB42CF}" dt="2018-03-07T21:54:16.818" v="1582" actId="14100"/>
          <ac:spMkLst>
            <pc:docMk/>
            <pc:sldMk cId="2827142831" sldId="301"/>
            <ac:spMk id="3" creationId="{E62D40A9-056A-457F-9018-9169B7B40F83}"/>
          </ac:spMkLst>
        </pc:spChg>
        <pc:spChg chg="add del mod">
          <ac:chgData name="Michael Collier" userId="c2873510-4a44-4d85-aef3-d7e8e051fe69" providerId="ADAL" clId="{CB384C6B-A00D-433E-855E-730CF8DB42CF}" dt="2018-03-07T21:51:06.398" v="1497" actId="14100"/>
          <ac:spMkLst>
            <pc:docMk/>
            <pc:sldMk cId="2827142831" sldId="301"/>
            <ac:spMk id="4" creationId="{C1444FFE-D529-4592-B95B-B63CB2A2333D}"/>
          </ac:spMkLst>
        </pc:spChg>
        <pc:spChg chg="add del mod">
          <ac:chgData name="Michael Collier" userId="c2873510-4a44-4d85-aef3-d7e8e051fe69" providerId="ADAL" clId="{CB384C6B-A00D-433E-855E-730CF8DB42CF}" dt="2018-03-07T21:51:06.398" v="1497" actId="14100"/>
          <ac:spMkLst>
            <pc:docMk/>
            <pc:sldMk cId="2827142831" sldId="301"/>
            <ac:spMk id="5" creationId="{1C3DF27B-C286-459C-8E71-905D8DD33D12}"/>
          </ac:spMkLst>
        </pc:spChg>
        <pc:spChg chg="add del mod">
          <ac:chgData name="Michael Collier" userId="c2873510-4a44-4d85-aef3-d7e8e051fe69" providerId="ADAL" clId="{CB384C6B-A00D-433E-855E-730CF8DB42CF}" dt="2018-03-07T21:51:06.398" v="1497" actId="14100"/>
          <ac:spMkLst>
            <pc:docMk/>
            <pc:sldMk cId="2827142831" sldId="301"/>
            <ac:spMk id="6" creationId="{2ADD2198-7851-46E1-A49D-DCAAEB6F1794}"/>
          </ac:spMkLst>
        </pc:spChg>
        <pc:spChg chg="add del mod">
          <ac:chgData name="Michael Collier" userId="c2873510-4a44-4d85-aef3-d7e8e051fe69" providerId="ADAL" clId="{CB384C6B-A00D-433E-855E-730CF8DB42CF}" dt="2018-03-07T21:54:04.495" v="1576" actId="14100"/>
          <ac:spMkLst>
            <pc:docMk/>
            <pc:sldMk cId="2827142831" sldId="301"/>
            <ac:spMk id="7" creationId="{B4C6C3EA-411C-422E-BED3-07D88D7A6362}"/>
          </ac:spMkLst>
        </pc:spChg>
        <pc:spChg chg="add del mod">
          <ac:chgData name="Michael Collier" userId="c2873510-4a44-4d85-aef3-d7e8e051fe69" providerId="ADAL" clId="{CB384C6B-A00D-433E-855E-730CF8DB42CF}" dt="2018-03-07T21:54:12.611" v="1578" actId="14100"/>
          <ac:spMkLst>
            <pc:docMk/>
            <pc:sldMk cId="2827142831" sldId="301"/>
            <ac:spMk id="8" creationId="{13DECF41-A08D-469F-B4FE-B8A152C4EE4E}"/>
          </ac:spMkLst>
        </pc:spChg>
        <pc:spChg chg="add del mod">
          <ac:chgData name="Michael Collier" userId="c2873510-4a44-4d85-aef3-d7e8e051fe69" providerId="ADAL" clId="{CB384C6B-A00D-433E-855E-730CF8DB42CF}" dt="2018-03-07T21:54:13.376" v="1579" actId="14100"/>
          <ac:spMkLst>
            <pc:docMk/>
            <pc:sldMk cId="2827142831" sldId="301"/>
            <ac:spMk id="9" creationId="{F6E9769F-FA87-4899-9E03-F17A4F908ED0}"/>
          </ac:spMkLst>
        </pc:spChg>
        <pc:spChg chg="add del mod">
          <ac:chgData name="Michael Collier" userId="c2873510-4a44-4d85-aef3-d7e8e051fe69" providerId="ADAL" clId="{CB384C6B-A00D-433E-855E-730CF8DB42CF}" dt="2018-03-07T21:54:13.616" v="1580" actId="14100"/>
          <ac:spMkLst>
            <pc:docMk/>
            <pc:sldMk cId="2827142831" sldId="301"/>
            <ac:spMk id="10" creationId="{09EB4B07-5061-4D89-B99A-CEB957D0C07E}"/>
          </ac:spMkLst>
        </pc:spChg>
        <pc:spChg chg="add del mod">
          <ac:chgData name="Michael Collier" userId="c2873510-4a44-4d85-aef3-d7e8e051fe69" providerId="ADAL" clId="{CB384C6B-A00D-433E-855E-730CF8DB42CF}" dt="2018-03-07T21:54:13.783" v="1581" actId="14100"/>
          <ac:spMkLst>
            <pc:docMk/>
            <pc:sldMk cId="2827142831" sldId="301"/>
            <ac:spMk id="11" creationId="{4139E439-78E6-4F54-9D1E-72C54D84DA5C}"/>
          </ac:spMkLst>
        </pc:spChg>
      </pc:sldChg>
      <pc:sldChg chg="modSp del">
        <pc:chgData name="Michael Collier" userId="c2873510-4a44-4d85-aef3-d7e8e051fe69" providerId="ADAL" clId="{CB384C6B-A00D-433E-855E-730CF8DB42CF}" dt="2018-03-09T03:45:35.464" v="4021" actId="2696"/>
        <pc:sldMkLst>
          <pc:docMk/>
          <pc:sldMk cId="3280635372" sldId="868"/>
        </pc:sldMkLst>
        <pc:spChg chg="mod">
          <ac:chgData name="Michael Collier" userId="c2873510-4a44-4d85-aef3-d7e8e051fe69" providerId="ADAL" clId="{CB384C6B-A00D-433E-855E-730CF8DB42CF}" dt="2018-03-09T03:44:53.296" v="4020" actId="1076"/>
          <ac:spMkLst>
            <pc:docMk/>
            <pc:sldMk cId="3280635372" sldId="868"/>
            <ac:spMk id="2" creationId="{00000000-0000-0000-0000-000000000000}"/>
          </ac:spMkLst>
        </pc:spChg>
        <pc:picChg chg="mod">
          <ac:chgData name="Michael Collier" userId="c2873510-4a44-4d85-aef3-d7e8e051fe69" providerId="ADAL" clId="{CB384C6B-A00D-433E-855E-730CF8DB42CF}" dt="2018-03-09T03:44:30.361" v="4017" actId="1076"/>
          <ac:picMkLst>
            <pc:docMk/>
            <pc:sldMk cId="3280635372" sldId="868"/>
            <ac:picMk id="19" creationId="{257D776D-2BB6-4684-830B-4F53BBA27AD2}"/>
          </ac:picMkLst>
        </pc:picChg>
      </pc:sldChg>
      <pc:sldChg chg="addSp delSp modSp add del">
        <pc:chgData name="Michael Collier" userId="c2873510-4a44-4d85-aef3-d7e8e051fe69" providerId="ADAL" clId="{CB384C6B-A00D-433E-855E-730CF8DB42CF}" dt="2018-03-09T03:48:48.804" v="4051" actId="20577"/>
        <pc:sldMkLst>
          <pc:docMk/>
          <pc:sldMk cId="1393502866" sldId="1463"/>
        </pc:sldMkLst>
        <pc:spChg chg="add del mod">
          <ac:chgData name="Michael Collier" userId="c2873510-4a44-4d85-aef3-d7e8e051fe69" providerId="ADAL" clId="{CB384C6B-A00D-433E-855E-730CF8DB42CF}" dt="2018-03-07T20:28:47.722" v="1426" actId="14100"/>
          <ac:spMkLst>
            <pc:docMk/>
            <pc:sldMk cId="1393502866" sldId="1463"/>
            <ac:spMk id="2" creationId="{7D703913-9634-420A-AB9A-3BB18F2913FB}"/>
          </ac:spMkLst>
        </pc:spChg>
        <pc:spChg chg="add del mod">
          <ac:chgData name="Michael Collier" userId="c2873510-4a44-4d85-aef3-d7e8e051fe69" providerId="ADAL" clId="{CB384C6B-A00D-433E-855E-730CF8DB42CF}" dt="2018-03-07T20:28:47.722" v="1426" actId="14100"/>
          <ac:spMkLst>
            <pc:docMk/>
            <pc:sldMk cId="1393502866" sldId="1463"/>
            <ac:spMk id="3" creationId="{F51281EE-9D76-498E-981C-37B5FC8D72F8}"/>
          </ac:spMkLst>
        </pc:spChg>
        <pc:spChg chg="mod">
          <ac:chgData name="Michael Collier" userId="c2873510-4a44-4d85-aef3-d7e8e051fe69" providerId="ADAL" clId="{CB384C6B-A00D-433E-855E-730CF8DB42CF}" dt="2018-03-07T20:29:55.998" v="1429" actId="14100"/>
          <ac:spMkLst>
            <pc:docMk/>
            <pc:sldMk cId="1393502866" sldId="1463"/>
            <ac:spMk id="4" creationId="{DB1EB9D5-EF7F-4018-8B18-B0F1F833BF0E}"/>
          </ac:spMkLst>
        </pc:spChg>
        <pc:spChg chg="mod">
          <ac:chgData name="Michael Collier" userId="c2873510-4a44-4d85-aef3-d7e8e051fe69" providerId="ADAL" clId="{CB384C6B-A00D-433E-855E-730CF8DB42CF}" dt="2018-03-09T03:48:48.804" v="4051" actId="20577"/>
          <ac:spMkLst>
            <pc:docMk/>
            <pc:sldMk cId="1393502866" sldId="1463"/>
            <ac:spMk id="5" creationId="{ECBC1C5F-A3FD-4955-915D-F7FA11DCEA9F}"/>
          </ac:spMkLst>
        </pc:spChg>
        <pc:spChg chg="del">
          <ac:chgData name="Michael Collier" userId="c2873510-4a44-4d85-aef3-d7e8e051fe69" providerId="ADAL" clId="{CB384C6B-A00D-433E-855E-730CF8DB42CF}" dt="2018-03-07T17:56:21.084" v="161" actId="14100"/>
          <ac:spMkLst>
            <pc:docMk/>
            <pc:sldMk cId="1393502866" sldId="1463"/>
            <ac:spMk id="6" creationId="{A13D4657-E618-4593-9F65-E24EA936687A}"/>
          </ac:spMkLst>
        </pc:spChg>
      </pc:sldChg>
      <pc:sldChg chg="modSp">
        <pc:chgData name="Michael Collier" userId="c2873510-4a44-4d85-aef3-d7e8e051fe69" providerId="ADAL" clId="{CB384C6B-A00D-433E-855E-730CF8DB42CF}" dt="2018-03-09T03:03:27.787" v="3705" actId="20577"/>
        <pc:sldMkLst>
          <pc:docMk/>
          <pc:sldMk cId="1581655428" sldId="1464"/>
        </pc:sldMkLst>
        <pc:spChg chg="mod">
          <ac:chgData name="Michael Collier" userId="c2873510-4a44-4d85-aef3-d7e8e051fe69" providerId="ADAL" clId="{CB384C6B-A00D-433E-855E-730CF8DB42CF}" dt="2018-03-09T03:03:27.787" v="3705" actId="20577"/>
          <ac:spMkLst>
            <pc:docMk/>
            <pc:sldMk cId="1581655428" sldId="1464"/>
            <ac:spMk id="4" creationId="{FB1C65E1-843B-4EF5-9A54-C9B7F8515418}"/>
          </ac:spMkLst>
        </pc:spChg>
      </pc:sldChg>
      <pc:sldChg chg="del">
        <pc:chgData name="Michael Collier" userId="c2873510-4a44-4d85-aef3-d7e8e051fe69" providerId="ADAL" clId="{CB384C6B-A00D-433E-855E-730CF8DB42CF}" dt="2018-03-09T03:50:15.893" v="4057" actId="2696"/>
        <pc:sldMkLst>
          <pc:docMk/>
          <pc:sldMk cId="564304858" sldId="1552"/>
        </pc:sldMkLst>
      </pc:sldChg>
      <pc:sldChg chg="modSp del">
        <pc:chgData name="Michael Collier" userId="c2873510-4a44-4d85-aef3-d7e8e051fe69" providerId="ADAL" clId="{CB384C6B-A00D-433E-855E-730CF8DB42CF}" dt="2018-03-09T03:50:16.035" v="4058" actId="2696"/>
        <pc:sldMkLst>
          <pc:docMk/>
          <pc:sldMk cId="3010372474" sldId="1553"/>
        </pc:sldMkLst>
        <pc:spChg chg="mod">
          <ac:chgData name="Michael Collier" userId="c2873510-4a44-4d85-aef3-d7e8e051fe69" providerId="ADAL" clId="{CB384C6B-A00D-433E-855E-730CF8DB42CF}" dt="2018-03-09T02:21:48.292" v="3175" actId="27636"/>
          <ac:spMkLst>
            <pc:docMk/>
            <pc:sldMk cId="3010372474" sldId="1553"/>
            <ac:spMk id="100" creationId="{96F58931-72DE-4EFD-9830-571AD5FC2402}"/>
          </ac:spMkLst>
        </pc:spChg>
      </pc:sldChg>
      <pc:sldChg chg="modSp del">
        <pc:chgData name="Michael Collier" userId="c2873510-4a44-4d85-aef3-d7e8e051fe69" providerId="ADAL" clId="{CB384C6B-A00D-433E-855E-730CF8DB42CF}" dt="2018-03-09T03:50:16.093" v="4059" actId="2696"/>
        <pc:sldMkLst>
          <pc:docMk/>
          <pc:sldMk cId="3581665344" sldId="1554"/>
        </pc:sldMkLst>
        <pc:spChg chg="mod">
          <ac:chgData name="Michael Collier" userId="c2873510-4a44-4d85-aef3-d7e8e051fe69" providerId="ADAL" clId="{CB384C6B-A00D-433E-855E-730CF8DB42CF}" dt="2018-03-09T02:21:48.320" v="3176" actId="27636"/>
          <ac:spMkLst>
            <pc:docMk/>
            <pc:sldMk cId="3581665344" sldId="1554"/>
            <ac:spMk id="70" creationId="{7F028B8A-BAB2-4949-ACD1-F4F3AC14D22B}"/>
          </ac:spMkLst>
        </pc:spChg>
      </pc:sldChg>
      <pc:sldChg chg="modSp del">
        <pc:chgData name="Michael Collier" userId="c2873510-4a44-4d85-aef3-d7e8e051fe69" providerId="ADAL" clId="{CB384C6B-A00D-433E-855E-730CF8DB42CF}" dt="2018-03-09T03:50:16.140" v="4060" actId="2696"/>
        <pc:sldMkLst>
          <pc:docMk/>
          <pc:sldMk cId="1446638509" sldId="1555"/>
        </pc:sldMkLst>
        <pc:spChg chg="mod">
          <ac:chgData name="Michael Collier" userId="c2873510-4a44-4d85-aef3-d7e8e051fe69" providerId="ADAL" clId="{CB384C6B-A00D-433E-855E-730CF8DB42CF}" dt="2018-03-09T02:21:48.335" v="3177" actId="27636"/>
          <ac:spMkLst>
            <pc:docMk/>
            <pc:sldMk cId="1446638509" sldId="1555"/>
            <ac:spMk id="44" creationId="{DFFB1F06-F7ED-4FC9-B8DD-821790D92BC1}"/>
          </ac:spMkLst>
        </pc:spChg>
      </pc:sldChg>
      <pc:sldChg chg="modSp del">
        <pc:chgData name="Michael Collier" userId="c2873510-4a44-4d85-aef3-d7e8e051fe69" providerId="ADAL" clId="{CB384C6B-A00D-433E-855E-730CF8DB42CF}" dt="2018-03-09T03:50:16.207" v="4061" actId="2696"/>
        <pc:sldMkLst>
          <pc:docMk/>
          <pc:sldMk cId="2965435736" sldId="1556"/>
        </pc:sldMkLst>
        <pc:spChg chg="mod">
          <ac:chgData name="Michael Collier" userId="c2873510-4a44-4d85-aef3-d7e8e051fe69" providerId="ADAL" clId="{CB384C6B-A00D-433E-855E-730CF8DB42CF}" dt="2018-03-09T02:21:48.344" v="3178" actId="27636"/>
          <ac:spMkLst>
            <pc:docMk/>
            <pc:sldMk cId="2965435736" sldId="1556"/>
            <ac:spMk id="119" creationId="{614DD8F0-91B4-4997-9BE5-2DB29A5948EB}"/>
          </ac:spMkLst>
        </pc:spChg>
      </pc:sldChg>
      <pc:sldChg chg="ord">
        <pc:chgData name="Michael Collier" userId="c2873510-4a44-4d85-aef3-d7e8e051fe69" providerId="ADAL" clId="{CB384C6B-A00D-433E-855E-730CF8DB42CF}" dt="2018-03-09T03:51:48.253" v="4065"/>
        <pc:sldMkLst>
          <pc:docMk/>
          <pc:sldMk cId="1840742443" sldId="1562"/>
        </pc:sldMkLst>
      </pc:sldChg>
      <pc:sldChg chg="addSp delSp modSp del modTransition">
        <pc:chgData name="Michael Collier" userId="c2873510-4a44-4d85-aef3-d7e8e051fe69" providerId="ADAL" clId="{CB384C6B-A00D-433E-855E-730CF8DB42CF}" dt="2018-03-09T03:15:38.209" v="3878" actId="2696"/>
        <pc:sldMkLst>
          <pc:docMk/>
          <pc:sldMk cId="3191871867" sldId="1562"/>
        </pc:sldMkLst>
        <pc:spChg chg="add mod">
          <ac:chgData name="Michael Collier" userId="c2873510-4a44-4d85-aef3-d7e8e051fe69" providerId="ADAL" clId="{CB384C6B-A00D-433E-855E-730CF8DB42CF}" dt="2018-03-09T02:12:11.740" v="3130" actId="1076"/>
          <ac:spMkLst>
            <pc:docMk/>
            <pc:sldMk cId="3191871867" sldId="1562"/>
            <ac:spMk id="2" creationId="{297A0892-9B88-435B-A51C-418BA696D9CC}"/>
          </ac:spMkLst>
        </pc:spChg>
        <pc:spChg chg="del">
          <ac:chgData name="Michael Collier" userId="c2873510-4a44-4d85-aef3-d7e8e051fe69" providerId="ADAL" clId="{CB384C6B-A00D-433E-855E-730CF8DB42CF}" dt="2018-03-09T02:12:14.115" v="3131" actId="478"/>
          <ac:spMkLst>
            <pc:docMk/>
            <pc:sldMk cId="3191871867" sldId="1562"/>
            <ac:spMk id="3" creationId="{C78C35E7-0B68-461F-8D5D-523D4488E378}"/>
          </ac:spMkLst>
        </pc:spChg>
        <pc:spChg chg="mod">
          <ac:chgData name="Michael Collier" userId="c2873510-4a44-4d85-aef3-d7e8e051fe69" providerId="ADAL" clId="{CB384C6B-A00D-433E-855E-730CF8DB42CF}" dt="2018-03-09T02:12:25.357" v="3133" actId="1076"/>
          <ac:spMkLst>
            <pc:docMk/>
            <pc:sldMk cId="3191871867" sldId="1562"/>
            <ac:spMk id="4" creationId="{09F38EB7-32CE-4C24-841F-BE4E60C6DD3B}"/>
          </ac:spMkLst>
        </pc:spChg>
        <pc:spChg chg="mod">
          <ac:chgData name="Michael Collier" userId="c2873510-4a44-4d85-aef3-d7e8e051fe69" providerId="ADAL" clId="{CB384C6B-A00D-433E-855E-730CF8DB42CF}" dt="2018-03-09T02:12:25.357" v="3133" actId="1076"/>
          <ac:spMkLst>
            <pc:docMk/>
            <pc:sldMk cId="3191871867" sldId="1562"/>
            <ac:spMk id="5" creationId="{38324FAE-F834-4CAB-BE60-02C10691E6AD}"/>
          </ac:spMkLst>
        </pc:spChg>
        <pc:spChg chg="mod">
          <ac:chgData name="Michael Collier" userId="c2873510-4a44-4d85-aef3-d7e8e051fe69" providerId="ADAL" clId="{CB384C6B-A00D-433E-855E-730CF8DB42CF}" dt="2018-03-09T02:12:25.357" v="3133" actId="1076"/>
          <ac:spMkLst>
            <pc:docMk/>
            <pc:sldMk cId="3191871867" sldId="1562"/>
            <ac:spMk id="6" creationId="{8C107529-8A5E-4DC6-9E92-4CEC4C8F9F93}"/>
          </ac:spMkLst>
        </pc:spChg>
        <pc:spChg chg="mod">
          <ac:chgData name="Michael Collier" userId="c2873510-4a44-4d85-aef3-d7e8e051fe69" providerId="ADAL" clId="{CB384C6B-A00D-433E-855E-730CF8DB42CF}" dt="2018-03-09T02:12:25.357" v="3133" actId="1076"/>
          <ac:spMkLst>
            <pc:docMk/>
            <pc:sldMk cId="3191871867" sldId="1562"/>
            <ac:spMk id="7" creationId="{BA670B68-216E-4E94-A11E-2DB8C52CE503}"/>
          </ac:spMkLst>
        </pc:spChg>
        <pc:spChg chg="mod">
          <ac:chgData name="Michael Collier" userId="c2873510-4a44-4d85-aef3-d7e8e051fe69" providerId="ADAL" clId="{CB384C6B-A00D-433E-855E-730CF8DB42CF}" dt="2018-03-09T02:12:25.357" v="3133" actId="1076"/>
          <ac:spMkLst>
            <pc:docMk/>
            <pc:sldMk cId="3191871867" sldId="1562"/>
            <ac:spMk id="8" creationId="{F3582905-20B6-474B-A5F3-8CC5AFE9930D}"/>
          </ac:spMkLst>
        </pc:spChg>
        <pc:spChg chg="mod">
          <ac:chgData name="Michael Collier" userId="c2873510-4a44-4d85-aef3-d7e8e051fe69" providerId="ADAL" clId="{CB384C6B-A00D-433E-855E-730CF8DB42CF}" dt="2018-03-09T02:12:25.357" v="3133" actId="1076"/>
          <ac:spMkLst>
            <pc:docMk/>
            <pc:sldMk cId="3191871867" sldId="1562"/>
            <ac:spMk id="9" creationId="{385758AC-406B-4B9F-83EB-80DC98D1C0F0}"/>
          </ac:spMkLst>
        </pc:spChg>
        <pc:spChg chg="mod">
          <ac:chgData name="Michael Collier" userId="c2873510-4a44-4d85-aef3-d7e8e051fe69" providerId="ADAL" clId="{CB384C6B-A00D-433E-855E-730CF8DB42CF}" dt="2018-03-09T02:12:25.357" v="3133" actId="1076"/>
          <ac:spMkLst>
            <pc:docMk/>
            <pc:sldMk cId="3191871867" sldId="1562"/>
            <ac:spMk id="10" creationId="{DB80E689-45E2-4DC5-BCEA-395F7BED7224}"/>
          </ac:spMkLst>
        </pc:spChg>
        <pc:spChg chg="mod">
          <ac:chgData name="Michael Collier" userId="c2873510-4a44-4d85-aef3-d7e8e051fe69" providerId="ADAL" clId="{CB384C6B-A00D-433E-855E-730CF8DB42CF}" dt="2018-03-09T02:12:25.357" v="3133" actId="1076"/>
          <ac:spMkLst>
            <pc:docMk/>
            <pc:sldMk cId="3191871867" sldId="1562"/>
            <ac:spMk id="12" creationId="{F3D80EE5-08B8-46A1-974A-027635ABF894}"/>
          </ac:spMkLst>
        </pc:spChg>
        <pc:spChg chg="mod">
          <ac:chgData name="Michael Collier" userId="c2873510-4a44-4d85-aef3-d7e8e051fe69" providerId="ADAL" clId="{CB384C6B-A00D-433E-855E-730CF8DB42CF}" dt="2018-03-09T02:12:25.357" v="3133" actId="1076"/>
          <ac:spMkLst>
            <pc:docMk/>
            <pc:sldMk cId="3191871867" sldId="1562"/>
            <ac:spMk id="13" creationId="{E26B3911-AF7C-4874-B7A5-7732B228A41A}"/>
          </ac:spMkLst>
        </pc:spChg>
        <pc:spChg chg="mod">
          <ac:chgData name="Michael Collier" userId="c2873510-4a44-4d85-aef3-d7e8e051fe69" providerId="ADAL" clId="{CB384C6B-A00D-433E-855E-730CF8DB42CF}" dt="2018-03-09T02:12:25.357" v="3133" actId="1076"/>
          <ac:spMkLst>
            <pc:docMk/>
            <pc:sldMk cId="3191871867" sldId="1562"/>
            <ac:spMk id="14" creationId="{4EA0D6FA-CB72-4343-9298-62496866B78D}"/>
          </ac:spMkLst>
        </pc:spChg>
        <pc:spChg chg="mod">
          <ac:chgData name="Michael Collier" userId="c2873510-4a44-4d85-aef3-d7e8e051fe69" providerId="ADAL" clId="{CB384C6B-A00D-433E-855E-730CF8DB42CF}" dt="2018-03-09T02:12:25.357" v="3133" actId="1076"/>
          <ac:spMkLst>
            <pc:docMk/>
            <pc:sldMk cId="3191871867" sldId="1562"/>
            <ac:spMk id="15" creationId="{8368F578-26DB-4F68-A436-E66EC4DD45A6}"/>
          </ac:spMkLst>
        </pc:spChg>
        <pc:spChg chg="add del mod">
          <ac:chgData name="Michael Collier" userId="c2873510-4a44-4d85-aef3-d7e8e051fe69" providerId="ADAL" clId="{CB384C6B-A00D-433E-855E-730CF8DB42CF}" dt="2018-03-09T02:12:03.116" v="3114" actId="2696"/>
          <ac:spMkLst>
            <pc:docMk/>
            <pc:sldMk cId="3191871867" sldId="1562"/>
            <ac:spMk id="370" creationId="{76FCA724-D4C4-4BC3-8B7A-B044854737E1}"/>
          </ac:spMkLst>
        </pc:spChg>
        <pc:spChg chg="add del mod">
          <ac:chgData name="Michael Collier" userId="c2873510-4a44-4d85-aef3-d7e8e051fe69" providerId="ADAL" clId="{CB384C6B-A00D-433E-855E-730CF8DB42CF}" dt="2018-03-09T02:12:15.844" v="3132" actId="2696"/>
          <ac:spMkLst>
            <pc:docMk/>
            <pc:sldMk cId="3191871867" sldId="1562"/>
            <ac:spMk id="371" creationId="{C7B7A19F-AF4C-4047-A7E8-89AB4365BC37}"/>
          </ac:spMkLst>
        </pc:spChg>
        <pc:grpChg chg="mod">
          <ac:chgData name="Michael Collier" userId="c2873510-4a44-4d85-aef3-d7e8e051fe69" providerId="ADAL" clId="{CB384C6B-A00D-433E-855E-730CF8DB42CF}" dt="2018-03-09T02:12:25.357" v="3133" actId="1076"/>
          <ac:grpSpMkLst>
            <pc:docMk/>
            <pc:sldMk cId="3191871867" sldId="1562"/>
            <ac:grpSpMk id="17" creationId="{DD8BEE43-820F-448C-9900-23D246B79421}"/>
          </ac:grpSpMkLst>
        </pc:grpChg>
        <pc:picChg chg="mod">
          <ac:chgData name="Michael Collier" userId="c2873510-4a44-4d85-aef3-d7e8e051fe69" providerId="ADAL" clId="{CB384C6B-A00D-433E-855E-730CF8DB42CF}" dt="2018-03-09T02:12:25.357" v="3133" actId="1076"/>
          <ac:picMkLst>
            <pc:docMk/>
            <pc:sldMk cId="3191871867" sldId="1562"/>
            <ac:picMk id="11" creationId="{3CBD8C4C-FDF7-439D-AA61-5B1577A0EA96}"/>
          </ac:picMkLst>
        </pc:picChg>
        <pc:picChg chg="mod">
          <ac:chgData name="Michael Collier" userId="c2873510-4a44-4d85-aef3-d7e8e051fe69" providerId="ADAL" clId="{CB384C6B-A00D-433E-855E-730CF8DB42CF}" dt="2018-03-09T02:12:25.357" v="3133" actId="1076"/>
          <ac:picMkLst>
            <pc:docMk/>
            <pc:sldMk cId="3191871867" sldId="1562"/>
            <ac:picMk id="16" creationId="{357C6A2F-AB52-4624-919B-1195A736A7B6}"/>
          </ac:picMkLst>
        </pc:picChg>
        <pc:picChg chg="mod">
          <ac:chgData name="Michael Collier" userId="c2873510-4a44-4d85-aef3-d7e8e051fe69" providerId="ADAL" clId="{CB384C6B-A00D-433E-855E-730CF8DB42CF}" dt="2018-03-09T02:12:25.357" v="3133" actId="1076"/>
          <ac:picMkLst>
            <pc:docMk/>
            <pc:sldMk cId="3191871867" sldId="1562"/>
            <ac:picMk id="367" creationId="{7915DB02-32EA-47C8-BA3D-8542CA7A2410}"/>
          </ac:picMkLst>
        </pc:picChg>
        <pc:picChg chg="mod">
          <ac:chgData name="Michael Collier" userId="c2873510-4a44-4d85-aef3-d7e8e051fe69" providerId="ADAL" clId="{CB384C6B-A00D-433E-855E-730CF8DB42CF}" dt="2018-03-09T02:12:25.357" v="3133" actId="1076"/>
          <ac:picMkLst>
            <pc:docMk/>
            <pc:sldMk cId="3191871867" sldId="1562"/>
            <ac:picMk id="368" creationId="{389F334A-D7F0-44C9-9467-244EEED195D0}"/>
          </ac:picMkLst>
        </pc:picChg>
        <pc:picChg chg="mod">
          <ac:chgData name="Michael Collier" userId="c2873510-4a44-4d85-aef3-d7e8e051fe69" providerId="ADAL" clId="{CB384C6B-A00D-433E-855E-730CF8DB42CF}" dt="2018-03-09T02:12:25.357" v="3133" actId="1076"/>
          <ac:picMkLst>
            <pc:docMk/>
            <pc:sldMk cId="3191871867" sldId="1562"/>
            <ac:picMk id="369" creationId="{4D02BDAF-922C-473C-BBBD-6D22BCD4472A}"/>
          </ac:picMkLst>
        </pc:picChg>
      </pc:sldChg>
      <pc:sldChg chg="del">
        <pc:chgData name="Michael Collier" userId="c2873510-4a44-4d85-aef3-d7e8e051fe69" providerId="ADAL" clId="{CB384C6B-A00D-433E-855E-730CF8DB42CF}" dt="2018-03-08T20:38:36.983" v="2730" actId="2696"/>
        <pc:sldMkLst>
          <pc:docMk/>
          <pc:sldMk cId="1154688488" sldId="1564"/>
        </pc:sldMkLst>
      </pc:sldChg>
      <pc:sldChg chg="modSp del modTransition">
        <pc:chgData name="Michael Collier" userId="c2873510-4a44-4d85-aef3-d7e8e051fe69" providerId="ADAL" clId="{CB384C6B-A00D-433E-855E-730CF8DB42CF}" dt="2018-03-09T02:35:54.042" v="3240" actId="2696"/>
        <pc:sldMkLst>
          <pc:docMk/>
          <pc:sldMk cId="3172356123" sldId="1568"/>
        </pc:sldMkLst>
        <pc:picChg chg="mod">
          <ac:chgData name="Michael Collier" userId="c2873510-4a44-4d85-aef3-d7e8e051fe69" providerId="ADAL" clId="{CB384C6B-A00D-433E-855E-730CF8DB42CF}" dt="2018-03-09T02:29:21.337" v="3235" actId="14100"/>
          <ac:picMkLst>
            <pc:docMk/>
            <pc:sldMk cId="3172356123" sldId="1568"/>
            <ac:picMk id="10" creationId="{6F17BFEF-EB92-4B97-9B47-41CF60027DAA}"/>
          </ac:picMkLst>
        </pc:picChg>
      </pc:sldChg>
      <pc:sldChg chg="addSp delSp modSp">
        <pc:chgData name="Michael Collier" userId="c2873510-4a44-4d85-aef3-d7e8e051fe69" providerId="ADAL" clId="{CB384C6B-A00D-433E-855E-730CF8DB42CF}" dt="2018-03-09T02:24:07.550" v="3227" actId="1076"/>
        <pc:sldMkLst>
          <pc:docMk/>
          <pc:sldMk cId="3116719474" sldId="1570"/>
        </pc:sldMkLst>
        <pc:spChg chg="add del">
          <ac:chgData name="Michael Collier" userId="c2873510-4a44-4d85-aef3-d7e8e051fe69" providerId="ADAL" clId="{CB384C6B-A00D-433E-855E-730CF8DB42CF}" dt="2018-03-09T02:23:54.431" v="3226" actId="478"/>
          <ac:spMkLst>
            <pc:docMk/>
            <pc:sldMk cId="3116719474" sldId="1570"/>
            <ac:spMk id="7" creationId="{00B502EB-C60D-4CFB-943C-0A15E79D8139}"/>
          </ac:spMkLst>
        </pc:spChg>
        <pc:picChg chg="mod">
          <ac:chgData name="Michael Collier" userId="c2873510-4a44-4d85-aef3-d7e8e051fe69" providerId="ADAL" clId="{CB384C6B-A00D-433E-855E-730CF8DB42CF}" dt="2018-03-09T02:24:07.550" v="3227" actId="1076"/>
          <ac:picMkLst>
            <pc:docMk/>
            <pc:sldMk cId="3116719474" sldId="1570"/>
            <ac:picMk id="15" creationId="{695C3787-335E-491D-AF31-F7248197293D}"/>
          </ac:picMkLst>
        </pc:picChg>
        <pc:picChg chg="mod">
          <ac:chgData name="Michael Collier" userId="c2873510-4a44-4d85-aef3-d7e8e051fe69" providerId="ADAL" clId="{CB384C6B-A00D-433E-855E-730CF8DB42CF}" dt="2018-03-09T02:23:44.620" v="3222" actId="1076"/>
          <ac:picMkLst>
            <pc:docMk/>
            <pc:sldMk cId="3116719474" sldId="1570"/>
            <ac:picMk id="17" creationId="{009733A8-9D12-47E7-86C5-DDB130AB0EAD}"/>
          </ac:picMkLst>
        </pc:picChg>
      </pc:sldChg>
      <pc:sldChg chg="modSp del">
        <pc:chgData name="Michael Collier" userId="c2873510-4a44-4d85-aef3-d7e8e051fe69" providerId="ADAL" clId="{CB384C6B-A00D-433E-855E-730CF8DB42CF}" dt="2018-03-09T03:50:16.253" v="4062" actId="2696"/>
        <pc:sldMkLst>
          <pc:docMk/>
          <pc:sldMk cId="1478469026" sldId="1578"/>
        </pc:sldMkLst>
        <pc:grpChg chg="mod">
          <ac:chgData name="Michael Collier" userId="c2873510-4a44-4d85-aef3-d7e8e051fe69" providerId="ADAL" clId="{CB384C6B-A00D-433E-855E-730CF8DB42CF}" dt="2018-03-09T02:22:45.110" v="3214" actId="1076"/>
          <ac:grpSpMkLst>
            <pc:docMk/>
            <pc:sldMk cId="1478469026" sldId="1578"/>
            <ac:grpSpMk id="202" creationId="{00000000-0000-0000-0000-000000000000}"/>
          </ac:grpSpMkLst>
        </pc:grpChg>
        <pc:grpChg chg="mod">
          <ac:chgData name="Michael Collier" userId="c2873510-4a44-4d85-aef3-d7e8e051fe69" providerId="ADAL" clId="{CB384C6B-A00D-433E-855E-730CF8DB42CF}" dt="2018-03-09T02:22:45.110" v="3214" actId="1076"/>
          <ac:grpSpMkLst>
            <pc:docMk/>
            <pc:sldMk cId="1478469026" sldId="1578"/>
            <ac:grpSpMk id="203" creationId="{00000000-0000-0000-0000-000000000000}"/>
          </ac:grpSpMkLst>
        </pc:grpChg>
        <pc:grpChg chg="mod">
          <ac:chgData name="Michael Collier" userId="c2873510-4a44-4d85-aef3-d7e8e051fe69" providerId="ADAL" clId="{CB384C6B-A00D-433E-855E-730CF8DB42CF}" dt="2018-03-09T02:22:45.110" v="3214" actId="1076"/>
          <ac:grpSpMkLst>
            <pc:docMk/>
            <pc:sldMk cId="1478469026" sldId="1578"/>
            <ac:grpSpMk id="204" creationId="{00000000-0000-0000-0000-000000000000}"/>
          </ac:grpSpMkLst>
        </pc:grpChg>
      </pc:sldChg>
      <pc:sldChg chg="modSp del">
        <pc:chgData name="Michael Collier" userId="c2873510-4a44-4d85-aef3-d7e8e051fe69" providerId="ADAL" clId="{CB384C6B-A00D-433E-855E-730CF8DB42CF}" dt="2018-03-09T03:50:16.308" v="4063" actId="2696"/>
        <pc:sldMkLst>
          <pc:docMk/>
          <pc:sldMk cId="103027610" sldId="1579"/>
        </pc:sldMkLst>
        <pc:grpChg chg="mod">
          <ac:chgData name="Michael Collier" userId="c2873510-4a44-4d85-aef3-d7e8e051fe69" providerId="ADAL" clId="{CB384C6B-A00D-433E-855E-730CF8DB42CF}" dt="2018-03-09T02:22:59.018" v="3216" actId="1076"/>
          <ac:grpSpMkLst>
            <pc:docMk/>
            <pc:sldMk cId="103027610" sldId="1579"/>
            <ac:grpSpMk id="172" creationId="{00000000-0000-0000-0000-000000000000}"/>
          </ac:grpSpMkLst>
        </pc:grpChg>
        <pc:grpChg chg="mod">
          <ac:chgData name="Michael Collier" userId="c2873510-4a44-4d85-aef3-d7e8e051fe69" providerId="ADAL" clId="{CB384C6B-A00D-433E-855E-730CF8DB42CF}" dt="2018-03-09T02:22:59.018" v="3216" actId="1076"/>
          <ac:grpSpMkLst>
            <pc:docMk/>
            <pc:sldMk cId="103027610" sldId="1579"/>
            <ac:grpSpMk id="173" creationId="{00000000-0000-0000-0000-000000000000}"/>
          </ac:grpSpMkLst>
        </pc:grpChg>
        <pc:grpChg chg="mod">
          <ac:chgData name="Michael Collier" userId="c2873510-4a44-4d85-aef3-d7e8e051fe69" providerId="ADAL" clId="{CB384C6B-A00D-433E-855E-730CF8DB42CF}" dt="2018-03-09T02:22:59.018" v="3216" actId="1076"/>
          <ac:grpSpMkLst>
            <pc:docMk/>
            <pc:sldMk cId="103027610" sldId="1579"/>
            <ac:grpSpMk id="174" creationId="{00000000-0000-0000-0000-000000000000}"/>
          </ac:grpSpMkLst>
        </pc:grpChg>
      </pc:sldChg>
      <pc:sldChg chg="modNotesTx">
        <pc:chgData name="Michael Collier" userId="c2873510-4a44-4d85-aef3-d7e8e051fe69" providerId="ADAL" clId="{CB384C6B-A00D-433E-855E-730CF8DB42CF}" dt="2018-03-08T20:39:04.933" v="2765" actId="20577"/>
        <pc:sldMkLst>
          <pc:docMk/>
          <pc:sldMk cId="3070671506" sldId="1583"/>
        </pc:sldMkLst>
      </pc:sldChg>
      <pc:sldChg chg="modSp">
        <pc:chgData name="Michael Collier" userId="c2873510-4a44-4d85-aef3-d7e8e051fe69" providerId="ADAL" clId="{CB384C6B-A00D-433E-855E-730CF8DB42CF}" dt="2018-03-09T02:11:28.954" v="3106" actId="1076"/>
        <pc:sldMkLst>
          <pc:docMk/>
          <pc:sldMk cId="4028739318" sldId="1584"/>
        </pc:sldMkLst>
        <pc:spChg chg="mod">
          <ac:chgData name="Michael Collier" userId="c2873510-4a44-4d85-aef3-d7e8e051fe69" providerId="ADAL" clId="{CB384C6B-A00D-433E-855E-730CF8DB42CF}" dt="2018-03-09T02:10:50.688" v="3097" actId="403"/>
          <ac:spMkLst>
            <pc:docMk/>
            <pc:sldMk cId="4028739318" sldId="1584"/>
            <ac:spMk id="5" creationId="{00000000-0000-0000-0000-000000000000}"/>
          </ac:spMkLst>
        </pc:spChg>
        <pc:spChg chg="mod">
          <ac:chgData name="Michael Collier" userId="c2873510-4a44-4d85-aef3-d7e8e051fe69" providerId="ADAL" clId="{CB384C6B-A00D-433E-855E-730CF8DB42CF}" dt="2018-03-09T02:11:28.954" v="3106" actId="1076"/>
          <ac:spMkLst>
            <pc:docMk/>
            <pc:sldMk cId="4028739318" sldId="1584"/>
            <ac:spMk id="27" creationId="{00000000-0000-0000-0000-000000000000}"/>
          </ac:spMkLst>
        </pc:spChg>
        <pc:spChg chg="mod">
          <ac:chgData name="Michael Collier" userId="c2873510-4a44-4d85-aef3-d7e8e051fe69" providerId="ADAL" clId="{CB384C6B-A00D-433E-855E-730CF8DB42CF}" dt="2018-03-09T02:11:25.770" v="3105" actId="1076"/>
          <ac:spMkLst>
            <pc:docMk/>
            <pc:sldMk cId="4028739318" sldId="1584"/>
            <ac:spMk id="45" creationId="{00000000-0000-0000-0000-000000000000}"/>
          </ac:spMkLst>
        </pc:spChg>
        <pc:spChg chg="mod">
          <ac:chgData name="Michael Collier" userId="c2873510-4a44-4d85-aef3-d7e8e051fe69" providerId="ADAL" clId="{CB384C6B-A00D-433E-855E-730CF8DB42CF}" dt="2018-03-09T02:11:04.998" v="3101" actId="14100"/>
          <ac:spMkLst>
            <pc:docMk/>
            <pc:sldMk cId="4028739318" sldId="1584"/>
            <ac:spMk id="47" creationId="{00000000-0000-0000-0000-000000000000}"/>
          </ac:spMkLst>
        </pc:spChg>
        <pc:spChg chg="mod">
          <ac:chgData name="Michael Collier" userId="c2873510-4a44-4d85-aef3-d7e8e051fe69" providerId="ADAL" clId="{CB384C6B-A00D-433E-855E-730CF8DB42CF}" dt="2018-03-09T02:10:55.941" v="3099" actId="403"/>
          <ac:spMkLst>
            <pc:docMk/>
            <pc:sldMk cId="4028739318" sldId="1584"/>
            <ac:spMk id="48" creationId="{00000000-0000-0000-0000-000000000000}"/>
          </ac:spMkLst>
        </pc:spChg>
        <pc:grpChg chg="mod">
          <ac:chgData name="Michael Collier" userId="c2873510-4a44-4d85-aef3-d7e8e051fe69" providerId="ADAL" clId="{CB384C6B-A00D-433E-855E-730CF8DB42CF}" dt="2018-03-09T02:11:20.125" v="3104" actId="1076"/>
          <ac:grpSpMkLst>
            <pc:docMk/>
            <pc:sldMk cId="4028739318" sldId="1584"/>
            <ac:grpSpMk id="8" creationId="{487227BE-3AA1-4C60-910D-6011E99721AD}"/>
          </ac:grpSpMkLst>
        </pc:grpChg>
        <pc:picChg chg="mod">
          <ac:chgData name="Michael Collier" userId="c2873510-4a44-4d85-aef3-d7e8e051fe69" providerId="ADAL" clId="{CB384C6B-A00D-433E-855E-730CF8DB42CF}" dt="2018-03-09T02:11:16.562" v="3102" actId="1076"/>
          <ac:picMkLst>
            <pc:docMk/>
            <pc:sldMk cId="4028739318" sldId="1584"/>
            <ac:picMk id="10" creationId="{F46B04FD-CD20-4A04-AC25-AD0395A4763D}"/>
          </ac:picMkLst>
        </pc:picChg>
        <pc:picChg chg="mod">
          <ac:chgData name="Michael Collier" userId="c2873510-4a44-4d85-aef3-d7e8e051fe69" providerId="ADAL" clId="{CB384C6B-A00D-433E-855E-730CF8DB42CF}" dt="2018-03-09T02:11:16.562" v="3102" actId="1076"/>
          <ac:picMkLst>
            <pc:docMk/>
            <pc:sldMk cId="4028739318" sldId="1584"/>
            <ac:picMk id="12"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4"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6"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18" creationId="{00000000-0000-0000-0000-000000000000}"/>
          </ac:picMkLst>
        </pc:picChg>
        <pc:picChg chg="mod">
          <ac:chgData name="Michael Collier" userId="c2873510-4a44-4d85-aef3-d7e8e051fe69" providerId="ADAL" clId="{CB384C6B-A00D-433E-855E-730CF8DB42CF}" dt="2018-03-09T02:11:16.562" v="3102" actId="1076"/>
          <ac:picMkLst>
            <pc:docMk/>
            <pc:sldMk cId="4028739318" sldId="1584"/>
            <ac:picMk id="20" creationId="{00000000-0000-0000-0000-000000000000}"/>
          </ac:picMkLst>
        </pc:picChg>
      </pc:sldChg>
      <pc:sldChg chg="del ord modTransition">
        <pc:chgData name="Michael Collier" userId="c2873510-4a44-4d85-aef3-d7e8e051fe69" providerId="ADAL" clId="{CB384C6B-A00D-433E-855E-730CF8DB42CF}" dt="2018-03-09T02:26:16.118" v="3229" actId="2696"/>
        <pc:sldMkLst>
          <pc:docMk/>
          <pc:sldMk cId="707555767" sldId="1586"/>
        </pc:sldMkLst>
      </pc:sldChg>
      <pc:sldChg chg="add del">
        <pc:chgData name="Michael Collier" userId="c2873510-4a44-4d85-aef3-d7e8e051fe69" providerId="ADAL" clId="{CB384C6B-A00D-433E-855E-730CF8DB42CF}" dt="2018-03-09T02:26:25.280" v="3231" actId="20577"/>
        <pc:sldMkLst>
          <pc:docMk/>
          <pc:sldMk cId="3213817584" sldId="1586"/>
        </pc:sldMkLst>
      </pc:sldChg>
      <pc:sldChg chg="add ord">
        <pc:chgData name="Michael Collier" userId="c2873510-4a44-4d85-aef3-d7e8e051fe69" providerId="ADAL" clId="{CB384C6B-A00D-433E-855E-730CF8DB42CF}" dt="2018-03-09T03:51:48.253" v="4065"/>
        <pc:sldMkLst>
          <pc:docMk/>
          <pc:sldMk cId="3319574289" sldId="1586"/>
        </pc:sldMkLst>
      </pc:sldChg>
      <pc:sldChg chg="ord">
        <pc:chgData name="Michael Collier" userId="c2873510-4a44-4d85-aef3-d7e8e051fe69" providerId="ADAL" clId="{CB384C6B-A00D-433E-855E-730CF8DB42CF}" dt="2018-03-09T03:51:48.253" v="4065"/>
        <pc:sldMkLst>
          <pc:docMk/>
          <pc:sldMk cId="2552885143" sldId="1588"/>
        </pc:sldMkLst>
      </pc:sldChg>
      <pc:sldChg chg="ord">
        <pc:chgData name="Michael Collier" userId="c2873510-4a44-4d85-aef3-d7e8e051fe69" providerId="ADAL" clId="{CB384C6B-A00D-433E-855E-730CF8DB42CF}" dt="2018-03-09T03:51:48.253" v="4065"/>
        <pc:sldMkLst>
          <pc:docMk/>
          <pc:sldMk cId="437669315" sldId="1589"/>
        </pc:sldMkLst>
      </pc:sldChg>
      <pc:sldChg chg="addSp modSp ord modNotesTx">
        <pc:chgData name="Michael Collier" userId="c2873510-4a44-4d85-aef3-d7e8e051fe69" providerId="ADAL" clId="{CB384C6B-A00D-433E-855E-730CF8DB42CF}" dt="2018-03-09T02:39:04.930" v="3421" actId="947"/>
        <pc:sldMkLst>
          <pc:docMk/>
          <pc:sldMk cId="705376088" sldId="1591"/>
        </pc:sldMkLst>
        <pc:spChg chg="add mod">
          <ac:chgData name="Michael Collier" userId="c2873510-4a44-4d85-aef3-d7e8e051fe69" providerId="ADAL" clId="{CB384C6B-A00D-433E-855E-730CF8DB42CF}" dt="2018-03-09T02:38:41.248" v="3416" actId="14100"/>
          <ac:spMkLst>
            <pc:docMk/>
            <pc:sldMk cId="705376088" sldId="1591"/>
            <ac:spMk id="2" creationId="{B479485D-6526-4F8C-BEE8-6386EC508059}"/>
          </ac:spMkLst>
        </pc:spChg>
        <pc:spChg chg="mod">
          <ac:chgData name="Michael Collier" userId="c2873510-4a44-4d85-aef3-d7e8e051fe69" providerId="ADAL" clId="{CB384C6B-A00D-433E-855E-730CF8DB42CF}" dt="2018-03-09T02:39:04.930" v="3421" actId="947"/>
          <ac:spMkLst>
            <pc:docMk/>
            <pc:sldMk cId="705376088" sldId="1591"/>
            <ac:spMk id="8" creationId="{00000000-0000-0000-0000-000000000000}"/>
          </ac:spMkLst>
        </pc:spChg>
      </pc:sldChg>
      <pc:sldChg chg="ord">
        <pc:chgData name="Michael Collier" userId="c2873510-4a44-4d85-aef3-d7e8e051fe69" providerId="ADAL" clId="{CB384C6B-A00D-433E-855E-730CF8DB42CF}" dt="2018-03-09T03:51:48.253" v="4065"/>
        <pc:sldMkLst>
          <pc:docMk/>
          <pc:sldMk cId="1613775756" sldId="1595"/>
        </pc:sldMkLst>
      </pc:sldChg>
      <pc:sldChg chg="del modTransition">
        <pc:chgData name="Michael Collier" userId="c2873510-4a44-4d85-aef3-d7e8e051fe69" providerId="ADAL" clId="{CB384C6B-A00D-433E-855E-730CF8DB42CF}" dt="2018-03-09T02:59:21.817" v="3646" actId="2696"/>
        <pc:sldMkLst>
          <pc:docMk/>
          <pc:sldMk cId="2311906511" sldId="1595"/>
        </pc:sldMkLst>
      </pc:sldChg>
      <pc:sldChg chg="addSp modSp add modTransition">
        <pc:chgData name="Michael Collier" userId="c2873510-4a44-4d85-aef3-d7e8e051fe69" providerId="ADAL" clId="{CB384C6B-A00D-433E-855E-730CF8DB42CF}" dt="2018-03-08T20:37:11.038" v="2655" actId="255"/>
        <pc:sldMkLst>
          <pc:docMk/>
          <pc:sldMk cId="3633545289" sldId="1597"/>
        </pc:sldMkLst>
        <pc:spChg chg="add mod">
          <ac:chgData name="Michael Collier" userId="c2873510-4a44-4d85-aef3-d7e8e051fe69" providerId="ADAL" clId="{CB384C6B-A00D-433E-855E-730CF8DB42CF}" dt="2018-03-08T20:36:50.509" v="2650" actId="20577"/>
          <ac:spMkLst>
            <pc:docMk/>
            <pc:sldMk cId="3633545289" sldId="1597"/>
            <ac:spMk id="2" creationId="{C63313FA-B62B-4877-901D-91DE5308DBB5}"/>
          </ac:spMkLst>
        </pc:spChg>
        <pc:spChg chg="add mod">
          <ac:chgData name="Michael Collier" userId="c2873510-4a44-4d85-aef3-d7e8e051fe69" providerId="ADAL" clId="{CB384C6B-A00D-433E-855E-730CF8DB42CF}" dt="2018-03-08T20:37:11.038" v="2655" actId="255"/>
          <ac:spMkLst>
            <pc:docMk/>
            <pc:sldMk cId="3633545289" sldId="1597"/>
            <ac:spMk id="3" creationId="{6E715BCE-C51B-4694-A4A8-1FAC5F6AD665}"/>
          </ac:spMkLst>
        </pc:spChg>
        <pc:spChg chg="add mod">
          <ac:chgData name="Michael Collier" userId="c2873510-4a44-4d85-aef3-d7e8e051fe69" providerId="ADAL" clId="{CB384C6B-A00D-433E-855E-730CF8DB42CF}" dt="2018-03-07T17:30:05.535" v="48" actId="1076"/>
          <ac:spMkLst>
            <pc:docMk/>
            <pc:sldMk cId="3633545289" sldId="1597"/>
            <ac:spMk id="4" creationId="{67C15052-3D3A-4747-BA25-C8BFFC4C090C}"/>
          </ac:spMkLst>
        </pc:spChg>
      </pc:sldChg>
      <pc:sldChg chg="addSp delSp modSp">
        <pc:chgData name="Michael Collier" userId="c2873510-4a44-4d85-aef3-d7e8e051fe69" providerId="ADAL" clId="{CB384C6B-A00D-433E-855E-730CF8DB42CF}" dt="2018-03-09T02:15:32.382" v="3166" actId="20577"/>
        <pc:sldMkLst>
          <pc:docMk/>
          <pc:sldMk cId="3618179520" sldId="1602"/>
        </pc:sldMkLst>
        <pc:spChg chg="add del mod">
          <ac:chgData name="Michael Collier" userId="c2873510-4a44-4d85-aef3-d7e8e051fe69" providerId="ADAL" clId="{CB384C6B-A00D-433E-855E-730CF8DB42CF}" dt="2018-03-09T02:15:32.382" v="3166" actId="20577"/>
          <ac:spMkLst>
            <pc:docMk/>
            <pc:sldMk cId="3618179520" sldId="1602"/>
            <ac:spMk id="4" creationId="{464A6E0C-7177-4537-85FC-ACF89862B8A7}"/>
          </ac:spMkLst>
        </pc:spChg>
        <pc:spChg chg="mod">
          <ac:chgData name="Michael Collier" userId="c2873510-4a44-4d85-aef3-d7e8e051fe69" providerId="ADAL" clId="{CB384C6B-A00D-433E-855E-730CF8DB42CF}" dt="2018-03-07T17:50:58.631" v="87" actId="14100"/>
          <ac:spMkLst>
            <pc:docMk/>
            <pc:sldMk cId="3618179520" sldId="1602"/>
            <ac:spMk id="19" creationId="{00000000-0000-0000-0000-000000000000}"/>
          </ac:spMkLst>
        </pc:spChg>
        <pc:spChg chg="mod">
          <ac:chgData name="Michael Collier" userId="c2873510-4a44-4d85-aef3-d7e8e051fe69" providerId="ADAL" clId="{CB384C6B-A00D-433E-855E-730CF8DB42CF}" dt="2018-03-07T17:51:08.821" v="88" actId="14100"/>
          <ac:spMkLst>
            <pc:docMk/>
            <pc:sldMk cId="3618179520" sldId="1602"/>
            <ac:spMk id="20" creationId="{00000000-0000-0000-0000-000000000000}"/>
          </ac:spMkLst>
        </pc:spChg>
        <pc:spChg chg="mod">
          <ac:chgData name="Michael Collier" userId="c2873510-4a44-4d85-aef3-d7e8e051fe69" providerId="ADAL" clId="{CB384C6B-A00D-433E-855E-730CF8DB42CF}" dt="2018-03-07T17:50:45.074" v="86" actId="114"/>
          <ac:spMkLst>
            <pc:docMk/>
            <pc:sldMk cId="3618179520" sldId="1602"/>
            <ac:spMk id="41" creationId="{00000000-0000-0000-0000-000000000000}"/>
          </ac:spMkLst>
        </pc:spChg>
        <pc:picChg chg="add mod modCrop">
          <ac:chgData name="Michael Collier" userId="c2873510-4a44-4d85-aef3-d7e8e051fe69" providerId="ADAL" clId="{CB384C6B-A00D-433E-855E-730CF8DB42CF}" dt="2018-03-07T17:52:27.035" v="100" actId="14100"/>
          <ac:picMkLst>
            <pc:docMk/>
            <pc:sldMk cId="3618179520" sldId="1602"/>
            <ac:picMk id="1026" creationId="{1B3CB6AD-DBBD-4334-BEB3-4395505EB7E2}"/>
          </ac:picMkLst>
        </pc:picChg>
        <pc:picChg chg="del mod">
          <ac:chgData name="Michael Collier" userId="c2873510-4a44-4d85-aef3-d7e8e051fe69" providerId="ADAL" clId="{CB384C6B-A00D-433E-855E-730CF8DB42CF}" dt="2018-03-07T17:51:57.549" v="93" actId="478"/>
          <ac:picMkLst>
            <pc:docMk/>
            <pc:sldMk cId="3618179520" sldId="1602"/>
            <ac:picMk id="2056" creationId="{957793CC-6395-4D71-8F16-C6EB5ACF12F4}"/>
          </ac:picMkLst>
        </pc:picChg>
      </pc:sldChg>
      <pc:sldChg chg="addSp delSp modSp add">
        <pc:chgData name="Michael Collier" userId="c2873510-4a44-4d85-aef3-d7e8e051fe69" providerId="ADAL" clId="{CB384C6B-A00D-433E-855E-730CF8DB42CF}" dt="2018-03-09T02:16:32.552" v="3169" actId="207"/>
        <pc:sldMkLst>
          <pc:docMk/>
          <pc:sldMk cId="4111969449" sldId="1646"/>
        </pc:sldMkLst>
        <pc:spChg chg="mod">
          <ac:chgData name="Michael Collier" userId="c2873510-4a44-4d85-aef3-d7e8e051fe69" providerId="ADAL" clId="{CB384C6B-A00D-433E-855E-730CF8DB42CF}" dt="2018-03-09T02:15:31.526" v="3165" actId="1076"/>
          <ac:spMkLst>
            <pc:docMk/>
            <pc:sldMk cId="4111969449" sldId="1646"/>
            <ac:spMk id="2" creationId="{00000000-0000-0000-0000-000000000000}"/>
          </ac:spMkLst>
        </pc:spChg>
        <pc:spChg chg="add mod">
          <ac:chgData name="Michael Collier" userId="c2873510-4a44-4d85-aef3-d7e8e051fe69" providerId="ADAL" clId="{CB384C6B-A00D-433E-855E-730CF8DB42CF}" dt="2018-03-09T02:16:32.552" v="3169" actId="207"/>
          <ac:spMkLst>
            <pc:docMk/>
            <pc:sldMk cId="4111969449" sldId="1646"/>
            <ac:spMk id="4" creationId="{EB2084A6-CC6F-477D-9F98-FE752D256CAF}"/>
          </ac:spMkLst>
        </pc:spChg>
        <pc:spChg chg="add mod">
          <ac:chgData name="Michael Collier" userId="c2873510-4a44-4d85-aef3-d7e8e051fe69" providerId="ADAL" clId="{CB384C6B-A00D-433E-855E-730CF8DB42CF}" dt="2018-03-07T17:55:18.918" v="156" actId="1076"/>
          <ac:spMkLst>
            <pc:docMk/>
            <pc:sldMk cId="4111969449" sldId="1646"/>
            <ac:spMk id="5" creationId="{AA5374D7-EA10-44DD-A28C-18A8955F3899}"/>
          </ac:spMkLst>
        </pc:spChg>
        <pc:spChg chg="add del mod">
          <ac:chgData name="Michael Collier" userId="c2873510-4a44-4d85-aef3-d7e8e051fe69" providerId="ADAL" clId="{CB384C6B-A00D-433E-855E-730CF8DB42CF}" dt="2018-03-09T02:15:32.382" v="3166" actId="207"/>
          <ac:spMkLst>
            <pc:docMk/>
            <pc:sldMk cId="4111969449" sldId="1646"/>
            <ac:spMk id="6" creationId="{99DFA540-8F99-4AA1-9A00-6BFD4F4E6374}"/>
          </ac:spMkLst>
        </pc:spChg>
        <pc:spChg chg="add del mod">
          <ac:chgData name="Michael Collier" userId="c2873510-4a44-4d85-aef3-d7e8e051fe69" providerId="ADAL" clId="{CB384C6B-A00D-433E-855E-730CF8DB42CF}" dt="2018-03-09T02:15:50.374" v="3168" actId="207"/>
          <ac:spMkLst>
            <pc:docMk/>
            <pc:sldMk cId="4111969449" sldId="1646"/>
            <ac:spMk id="7" creationId="{43BFE88D-8CC1-4AE7-BC8C-4F2A507C3109}"/>
          </ac:spMkLst>
        </pc:spChg>
        <pc:spChg chg="del">
          <ac:chgData name="Michael Collier" userId="c2873510-4a44-4d85-aef3-d7e8e051fe69" providerId="ADAL" clId="{CB384C6B-A00D-433E-855E-730CF8DB42CF}" dt="2018-03-07T17:53:03.741" v="107" actId="478"/>
          <ac:spMkLst>
            <pc:docMk/>
            <pc:sldMk cId="4111969449" sldId="1646"/>
            <ac:spMk id="19" creationId="{00000000-0000-0000-0000-000000000000}"/>
          </ac:spMkLst>
        </pc:spChg>
        <pc:spChg chg="del">
          <ac:chgData name="Michael Collier" userId="c2873510-4a44-4d85-aef3-d7e8e051fe69" providerId="ADAL" clId="{CB384C6B-A00D-433E-855E-730CF8DB42CF}" dt="2018-03-07T17:53:04.964" v="108" actId="478"/>
          <ac:spMkLst>
            <pc:docMk/>
            <pc:sldMk cId="4111969449" sldId="1646"/>
            <ac:spMk id="20" creationId="{00000000-0000-0000-0000-000000000000}"/>
          </ac:spMkLst>
        </pc:spChg>
        <pc:spChg chg="del mod">
          <ac:chgData name="Michael Collier" userId="c2873510-4a44-4d85-aef3-d7e8e051fe69" providerId="ADAL" clId="{CB384C6B-A00D-433E-855E-730CF8DB42CF}" dt="2018-03-07T17:53:00.386" v="105" actId="478"/>
          <ac:spMkLst>
            <pc:docMk/>
            <pc:sldMk cId="4111969449" sldId="1646"/>
            <ac:spMk id="21" creationId="{00000000-0000-0000-0000-000000000000}"/>
          </ac:spMkLst>
        </pc:spChg>
        <pc:spChg chg="add mod">
          <ac:chgData name="Michael Collier" userId="c2873510-4a44-4d85-aef3-d7e8e051fe69" providerId="ADAL" clId="{CB384C6B-A00D-433E-855E-730CF8DB42CF}" dt="2018-03-07T17:55:28.713" v="158" actId="1076"/>
          <ac:spMkLst>
            <pc:docMk/>
            <pc:sldMk cId="4111969449" sldId="1646"/>
            <ac:spMk id="26" creationId="{11E3F0DA-F796-45F3-AC89-C6DEBE84AFA4}"/>
          </ac:spMkLst>
        </pc:spChg>
        <pc:spChg chg="mod">
          <ac:chgData name="Michael Collier" userId="c2873510-4a44-4d85-aef3-d7e8e051fe69" providerId="ADAL" clId="{CB384C6B-A00D-433E-855E-730CF8DB42CF}" dt="2018-03-09T02:15:30.901" v="3164" actId="1076"/>
          <ac:spMkLst>
            <pc:docMk/>
            <pc:sldMk cId="4111969449" sldId="1646"/>
            <ac:spMk id="33" creationId="{00000000-0000-0000-0000-000000000000}"/>
          </ac:spMkLst>
        </pc:spChg>
        <pc:spChg chg="del">
          <ac:chgData name="Michael Collier" userId="c2873510-4a44-4d85-aef3-d7e8e051fe69" providerId="ADAL" clId="{CB384C6B-A00D-433E-855E-730CF8DB42CF}" dt="2018-03-07T17:53:07.294" v="109" actId="478"/>
          <ac:spMkLst>
            <pc:docMk/>
            <pc:sldMk cId="4111969449" sldId="1646"/>
            <ac:spMk id="34" creationId="{00000000-0000-0000-0000-000000000000}"/>
          </ac:spMkLst>
        </pc:spChg>
        <pc:spChg chg="del">
          <ac:chgData name="Michael Collier" userId="c2873510-4a44-4d85-aef3-d7e8e051fe69" providerId="ADAL" clId="{CB384C6B-A00D-433E-855E-730CF8DB42CF}" dt="2018-03-07T17:53:02.549" v="106" actId="478"/>
          <ac:spMkLst>
            <pc:docMk/>
            <pc:sldMk cId="4111969449" sldId="1646"/>
            <ac:spMk id="41" creationId="{00000000-0000-0000-0000-000000000000}"/>
          </ac:spMkLst>
        </pc:spChg>
      </pc:sldChg>
      <pc:sldChg chg="del">
        <pc:chgData name="Michael Collier" userId="c2873510-4a44-4d85-aef3-d7e8e051fe69" providerId="ADAL" clId="{CB384C6B-A00D-433E-855E-730CF8DB42CF}" dt="2018-03-09T03:47:57.042" v="4046" actId="2696"/>
        <pc:sldMkLst>
          <pc:docMk/>
          <pc:sldMk cId="1239209007" sldId="1647"/>
        </pc:sldMkLst>
      </pc:sldChg>
      <pc:sldChg chg="del modTransition">
        <pc:chgData name="Michael Collier" userId="c2873510-4a44-4d85-aef3-d7e8e051fe69" providerId="ADAL" clId="{CB384C6B-A00D-433E-855E-730CF8DB42CF}" dt="2018-03-09T02:40:48.517" v="3423" actId="2696"/>
        <pc:sldMkLst>
          <pc:docMk/>
          <pc:sldMk cId="3419432853" sldId="1652"/>
        </pc:sldMkLst>
      </pc:sldChg>
      <pc:sldChg chg="ord">
        <pc:chgData name="Michael Collier" userId="c2873510-4a44-4d85-aef3-d7e8e051fe69" providerId="ADAL" clId="{CB384C6B-A00D-433E-855E-730CF8DB42CF}" dt="2018-03-09T03:51:48.253" v="4065"/>
        <pc:sldMkLst>
          <pc:docMk/>
          <pc:sldMk cId="4160799212" sldId="1652"/>
        </pc:sldMkLst>
      </pc:sldChg>
      <pc:sldChg chg="addSp delSp modSp add del ord modTransition modNotesTx">
        <pc:chgData name="Michael Collier" userId="c2873510-4a44-4d85-aef3-d7e8e051fe69" providerId="ADAL" clId="{CB384C6B-A00D-433E-855E-730CF8DB42CF}" dt="2018-03-09T03:14:36.971" v="3876" actId="2696"/>
        <pc:sldMkLst>
          <pc:docMk/>
          <pc:sldMk cId="72915117" sldId="1654"/>
        </pc:sldMkLst>
        <pc:spChg chg="add del mod">
          <ac:chgData name="Michael Collier" userId="c2873510-4a44-4d85-aef3-d7e8e051fe69" providerId="ADAL" clId="{CB384C6B-A00D-433E-855E-730CF8DB42CF}" dt="2018-03-09T03:00:18.942" v="3647" actId="2696"/>
          <ac:spMkLst>
            <pc:docMk/>
            <pc:sldMk cId="72915117" sldId="1654"/>
            <ac:spMk id="2" creationId="{CDE045D2-CDA1-4A87-9DAE-1567DD8C0C32}"/>
          </ac:spMkLst>
        </pc:spChg>
        <pc:spChg chg="del">
          <ac:chgData name="Michael Collier" userId="c2873510-4a44-4d85-aef3-d7e8e051fe69" providerId="ADAL" clId="{CB384C6B-A00D-433E-855E-730CF8DB42CF}" dt="2018-03-07T18:05:32.173" v="294" actId="242"/>
          <ac:spMkLst>
            <pc:docMk/>
            <pc:sldMk cId="72915117" sldId="1654"/>
            <ac:spMk id="2" creationId="{9CCAC1DC-1801-47BB-9324-D39C7F755BC7}"/>
          </ac:spMkLst>
        </pc:spChg>
        <pc:spChg chg="del">
          <ac:chgData name="Michael Collier" userId="c2873510-4a44-4d85-aef3-d7e8e051fe69" providerId="ADAL" clId="{CB384C6B-A00D-433E-855E-730CF8DB42CF}" dt="2018-03-07T18:05:32.173" v="294" actId="242"/>
          <ac:spMkLst>
            <pc:docMk/>
            <pc:sldMk cId="72915117" sldId="1654"/>
            <ac:spMk id="3" creationId="{078F0977-ABF9-40F3-BB96-427E5CF4C533}"/>
          </ac:spMkLst>
        </pc:spChg>
        <pc:spChg chg="add mod">
          <ac:chgData name="Michael Collier" userId="c2873510-4a44-4d85-aef3-d7e8e051fe69" providerId="ADAL" clId="{CB384C6B-A00D-433E-855E-730CF8DB42CF}" dt="2018-03-07T18:05:46.049" v="342" actId="20577"/>
          <ac:spMkLst>
            <pc:docMk/>
            <pc:sldMk cId="72915117" sldId="1654"/>
            <ac:spMk id="4" creationId="{6EE811C1-0EAA-42EB-8560-838A5247B63D}"/>
          </ac:spMkLst>
        </pc:spChg>
        <pc:spChg chg="add mod">
          <ac:chgData name="Michael Collier" userId="c2873510-4a44-4d85-aef3-d7e8e051fe69" providerId="ADAL" clId="{CB384C6B-A00D-433E-855E-730CF8DB42CF}" dt="2018-03-09T03:00:47.725" v="3653" actId="404"/>
          <ac:spMkLst>
            <pc:docMk/>
            <pc:sldMk cId="72915117" sldId="1654"/>
            <ac:spMk id="5" creationId="{AE7EB03A-E88A-4BC8-BE1D-C58FD1F9A79D}"/>
          </ac:spMkLst>
        </pc:spChg>
        <pc:spChg chg="add del mod">
          <ac:chgData name="Michael Collier" userId="c2873510-4a44-4d85-aef3-d7e8e051fe69" providerId="ADAL" clId="{CB384C6B-A00D-433E-855E-730CF8DB42CF}" dt="2018-03-08T19:43:36.168" v="1886" actId="478"/>
          <ac:spMkLst>
            <pc:docMk/>
            <pc:sldMk cId="72915117" sldId="1654"/>
            <ac:spMk id="7" creationId="{0A19D4B7-7130-4335-8087-5E5257107E46}"/>
          </ac:spMkLst>
        </pc:spChg>
        <pc:spChg chg="mod">
          <ac:chgData name="Michael Collier" userId="c2873510-4a44-4d85-aef3-d7e8e051fe69" providerId="ADAL" clId="{CB384C6B-A00D-433E-855E-730CF8DB42CF}" dt="2018-03-08T19:43:54.961" v="1891" actId="404"/>
          <ac:spMkLst>
            <pc:docMk/>
            <pc:sldMk cId="72915117" sldId="1654"/>
            <ac:spMk id="14" creationId="{87CFF48E-7D67-4583-8907-6E267320CE60}"/>
          </ac:spMkLst>
        </pc:spChg>
        <pc:spChg chg="mod">
          <ac:chgData name="Michael Collier" userId="c2873510-4a44-4d85-aef3-d7e8e051fe69" providerId="ADAL" clId="{CB384C6B-A00D-433E-855E-730CF8DB42CF}" dt="2018-03-08T19:43:54.961" v="1891" actId="404"/>
          <ac:spMkLst>
            <pc:docMk/>
            <pc:sldMk cId="72915117" sldId="1654"/>
            <ac:spMk id="21" creationId="{50B45801-4CF9-4BF6-8171-5D279EE9A916}"/>
          </ac:spMkLst>
        </pc:spChg>
        <pc:spChg chg="mod">
          <ac:chgData name="Michael Collier" userId="c2873510-4a44-4d85-aef3-d7e8e051fe69" providerId="ADAL" clId="{CB384C6B-A00D-433E-855E-730CF8DB42CF}" dt="2018-03-08T19:43:54.961" v="1891" actId="404"/>
          <ac:spMkLst>
            <pc:docMk/>
            <pc:sldMk cId="72915117" sldId="1654"/>
            <ac:spMk id="22" creationId="{DAD653ED-812D-4556-A38A-52C9969788F4}"/>
          </ac:spMkLst>
        </pc:spChg>
        <pc:spChg chg="mod">
          <ac:chgData name="Michael Collier" userId="c2873510-4a44-4d85-aef3-d7e8e051fe69" providerId="ADAL" clId="{CB384C6B-A00D-433E-855E-730CF8DB42CF}" dt="2018-03-08T19:43:54.961" v="1891" actId="404"/>
          <ac:spMkLst>
            <pc:docMk/>
            <pc:sldMk cId="72915117" sldId="1654"/>
            <ac:spMk id="23" creationId="{962B691D-8BFC-4BB3-963D-FED291406340}"/>
          </ac:spMkLst>
        </pc:spChg>
        <pc:spChg chg="mod">
          <ac:chgData name="Michael Collier" userId="c2873510-4a44-4d85-aef3-d7e8e051fe69" providerId="ADAL" clId="{CB384C6B-A00D-433E-855E-730CF8DB42CF}" dt="2018-03-08T19:43:54.961" v="1891" actId="404"/>
          <ac:spMkLst>
            <pc:docMk/>
            <pc:sldMk cId="72915117" sldId="1654"/>
            <ac:spMk id="24" creationId="{6165AE32-60C9-4F5B-B845-1D3EC1E3BC86}"/>
          </ac:spMkLst>
        </pc:spChg>
        <pc:grpChg chg="add mod">
          <ac:chgData name="Michael Collier" userId="c2873510-4a44-4d85-aef3-d7e8e051fe69" providerId="ADAL" clId="{CB384C6B-A00D-433E-855E-730CF8DB42CF}" dt="2018-03-09T03:00:41.619" v="3652" actId="1076"/>
          <ac:grpSpMkLst>
            <pc:docMk/>
            <pc:sldMk cId="72915117" sldId="1654"/>
            <ac:grpSpMk id="8" creationId="{1B079D24-AF2B-4330-BBEB-EC07A6CB13EC}"/>
          </ac:grpSpMkLst>
        </pc:grpChg>
        <pc:graphicFrameChg chg="add mod modGraphic">
          <ac:chgData name="Michael Collier" userId="c2873510-4a44-4d85-aef3-d7e8e051fe69" providerId="ADAL" clId="{CB384C6B-A00D-433E-855E-730CF8DB42CF}" dt="2018-03-09T03:01:14.385" v="3655" actId="1076"/>
          <ac:graphicFrameMkLst>
            <pc:docMk/>
            <pc:sldMk cId="72915117" sldId="1654"/>
            <ac:graphicFrameMk id="6" creationId="{A9F8082F-32FD-4C6F-A7DC-0C02C083D3B8}"/>
          </ac:graphicFrameMkLst>
        </pc:graphicFrameChg>
      </pc:sldChg>
      <pc:sldChg chg="ord">
        <pc:chgData name="Michael Collier" userId="c2873510-4a44-4d85-aef3-d7e8e051fe69" providerId="ADAL" clId="{CB384C6B-A00D-433E-855E-730CF8DB42CF}" dt="2018-03-09T03:51:48.253" v="4065"/>
        <pc:sldMkLst>
          <pc:docMk/>
          <pc:sldMk cId="3064873485" sldId="1654"/>
        </pc:sldMkLst>
      </pc:sldChg>
      <pc:sldChg chg="addSp delSp modSp add delAnim modAnim modNotesTx">
        <pc:chgData name="Michael Collier" userId="c2873510-4a44-4d85-aef3-d7e8e051fe69" providerId="ADAL" clId="{CB384C6B-A00D-433E-855E-730CF8DB42CF}" dt="2018-03-09T02:59:13.879" v="3645" actId="20577"/>
        <pc:sldMkLst>
          <pc:docMk/>
          <pc:sldMk cId="4137199266" sldId="1655"/>
        </pc:sldMkLst>
        <pc:spChg chg="mod">
          <ac:chgData name="Michael Collier" userId="c2873510-4a44-4d85-aef3-d7e8e051fe69" providerId="ADAL" clId="{CB384C6B-A00D-433E-855E-730CF8DB42CF}" dt="2018-03-07T19:48:33.944" v="708" actId="14100"/>
          <ac:spMkLst>
            <pc:docMk/>
            <pc:sldMk cId="4137199266" sldId="1655"/>
            <ac:spMk id="8" creationId="{00000000-0000-0000-0000-000000000000}"/>
          </ac:spMkLst>
        </pc:spChg>
        <pc:spChg chg="mod ord">
          <ac:chgData name="Michael Collier" userId="c2873510-4a44-4d85-aef3-d7e8e051fe69" providerId="ADAL" clId="{CB384C6B-A00D-433E-855E-730CF8DB42CF}" dt="2018-03-07T18:17:43.694" v="406" actId="164"/>
          <ac:spMkLst>
            <pc:docMk/>
            <pc:sldMk cId="4137199266" sldId="1655"/>
            <ac:spMk id="9" creationId="{45A8DCC9-3A23-4890-8CE0-9BC9B8830CF3}"/>
          </ac:spMkLst>
        </pc:spChg>
        <pc:spChg chg="mod">
          <ac:chgData name="Michael Collier" userId="c2873510-4a44-4d85-aef3-d7e8e051fe69" providerId="ADAL" clId="{CB384C6B-A00D-433E-855E-730CF8DB42CF}" dt="2018-03-07T19:39:29.861" v="537" actId="1076"/>
          <ac:spMkLst>
            <pc:docMk/>
            <pc:sldMk cId="4137199266" sldId="1655"/>
            <ac:spMk id="11" creationId="{54C1F869-625B-441E-975A-A010025C208E}"/>
          </ac:spMkLst>
        </pc:spChg>
        <pc:spChg chg="mod">
          <ac:chgData name="Michael Collier" userId="c2873510-4a44-4d85-aef3-d7e8e051fe69" providerId="ADAL" clId="{CB384C6B-A00D-433E-855E-730CF8DB42CF}" dt="2018-03-07T19:43:58.463" v="609" actId="1076"/>
          <ac:spMkLst>
            <pc:docMk/>
            <pc:sldMk cId="4137199266" sldId="1655"/>
            <ac:spMk id="12" creationId="{5B0A3CF3-02E4-4784-AF6F-58086CAB2836}"/>
          </ac:spMkLst>
        </pc:spChg>
        <pc:spChg chg="mod">
          <ac:chgData name="Michael Collier" userId="c2873510-4a44-4d85-aef3-d7e8e051fe69" providerId="ADAL" clId="{CB384C6B-A00D-433E-855E-730CF8DB42CF}" dt="2018-03-07T19:40:54.918" v="561" actId="164"/>
          <ac:spMkLst>
            <pc:docMk/>
            <pc:sldMk cId="4137199266" sldId="1655"/>
            <ac:spMk id="19" creationId="{56ECED4C-7396-4CB9-AC3E-DB0A6B61D4CB}"/>
          </ac:spMkLst>
        </pc:spChg>
        <pc:spChg chg="mod">
          <ac:chgData name="Michael Collier" userId="c2873510-4a44-4d85-aef3-d7e8e051fe69" providerId="ADAL" clId="{CB384C6B-A00D-433E-855E-730CF8DB42CF}" dt="2018-03-07T19:40:54.918" v="561" actId="164"/>
          <ac:spMkLst>
            <pc:docMk/>
            <pc:sldMk cId="4137199266" sldId="1655"/>
            <ac:spMk id="34" creationId="{DCBADA3B-B6EA-4AD1-8FF3-6D2BF9C2B7C0}"/>
          </ac:spMkLst>
        </pc:spChg>
        <pc:spChg chg="mod">
          <ac:chgData name="Michael Collier" userId="c2873510-4a44-4d85-aef3-d7e8e051fe69" providerId="ADAL" clId="{CB384C6B-A00D-433E-855E-730CF8DB42CF}" dt="2018-03-07T18:29:04.513" v="494" actId="14100"/>
          <ac:spMkLst>
            <pc:docMk/>
            <pc:sldMk cId="4137199266" sldId="1655"/>
            <ac:spMk id="36" creationId="{A094B235-A880-49CB-9CDA-40FAFC4A689E}"/>
          </ac:spMkLst>
        </pc:spChg>
        <pc:spChg chg="mod">
          <ac:chgData name="Michael Collier" userId="c2873510-4a44-4d85-aef3-d7e8e051fe69" providerId="ADAL" clId="{CB384C6B-A00D-433E-855E-730CF8DB42CF}" dt="2018-03-07T18:29:16.773" v="496" actId="14100"/>
          <ac:spMkLst>
            <pc:docMk/>
            <pc:sldMk cId="4137199266" sldId="1655"/>
            <ac:spMk id="37" creationId="{2965F491-7FCB-4A44-A591-BD61EEA48FF0}"/>
          </ac:spMkLst>
        </pc:spChg>
        <pc:spChg chg="mod">
          <ac:chgData name="Michael Collier" userId="c2873510-4a44-4d85-aef3-d7e8e051fe69" providerId="ADAL" clId="{CB384C6B-A00D-433E-855E-730CF8DB42CF}" dt="2018-03-07T18:29:09.033" v="495" actId="14100"/>
          <ac:spMkLst>
            <pc:docMk/>
            <pc:sldMk cId="4137199266" sldId="1655"/>
            <ac:spMk id="38" creationId="{277E5654-8CE0-47A0-B538-4114ED9D94F2}"/>
          </ac:spMkLst>
        </pc:spChg>
        <pc:spChg chg="mod">
          <ac:chgData name="Michael Collier" userId="c2873510-4a44-4d85-aef3-d7e8e051fe69" providerId="ADAL" clId="{CB384C6B-A00D-433E-855E-730CF8DB42CF}" dt="2018-03-07T19:44:42.790" v="668" actId="1035"/>
          <ac:spMkLst>
            <pc:docMk/>
            <pc:sldMk cId="4137199266" sldId="1655"/>
            <ac:spMk id="55" creationId="{C5BDE801-A096-4BF6-AE80-8895EBD8E3AD}"/>
          </ac:spMkLst>
        </pc:spChg>
        <pc:spChg chg="mod">
          <ac:chgData name="Michael Collier" userId="c2873510-4a44-4d85-aef3-d7e8e051fe69" providerId="ADAL" clId="{CB384C6B-A00D-433E-855E-730CF8DB42CF}" dt="2018-03-07T19:44:42.790" v="668" actId="1035"/>
          <ac:spMkLst>
            <pc:docMk/>
            <pc:sldMk cId="4137199266" sldId="1655"/>
            <ac:spMk id="56" creationId="{7C6251DE-B802-437A-A474-8C35C7F13FAD}"/>
          </ac:spMkLst>
        </pc:spChg>
        <pc:spChg chg="add del mod">
          <ac:chgData name="Michael Collier" userId="c2873510-4a44-4d85-aef3-d7e8e051fe69" providerId="ADAL" clId="{CB384C6B-A00D-433E-855E-730CF8DB42CF}" dt="2018-03-07T18:20:30.603" v="436" actId="478"/>
          <ac:spMkLst>
            <pc:docMk/>
            <pc:sldMk cId="4137199266" sldId="1655"/>
            <ac:spMk id="79" creationId="{3F54F0A4-48E7-4FEB-8CD8-72ED9752CBB8}"/>
          </ac:spMkLst>
        </pc:spChg>
        <pc:spChg chg="add mod">
          <ac:chgData name="Michael Collier" userId="c2873510-4a44-4d85-aef3-d7e8e051fe69" providerId="ADAL" clId="{CB384C6B-A00D-433E-855E-730CF8DB42CF}" dt="2018-03-07T18:22:41.014" v="486" actId="207"/>
          <ac:spMkLst>
            <pc:docMk/>
            <pc:sldMk cId="4137199266" sldId="1655"/>
            <ac:spMk id="80" creationId="{E1AF487D-FC48-42C6-8120-CB7F72790D45}"/>
          </ac:spMkLst>
        </pc:spChg>
        <pc:spChg chg="add mod">
          <ac:chgData name="Michael Collier" userId="c2873510-4a44-4d85-aef3-d7e8e051fe69" providerId="ADAL" clId="{CB384C6B-A00D-433E-855E-730CF8DB42CF}" dt="2018-03-07T19:45:15.329" v="673" actId="1076"/>
          <ac:spMkLst>
            <pc:docMk/>
            <pc:sldMk cId="4137199266" sldId="1655"/>
            <ac:spMk id="81" creationId="{71797AC9-2C3A-44FB-81CB-D621291DCA6D}"/>
          </ac:spMkLst>
        </pc:spChg>
        <pc:spChg chg="add mod">
          <ac:chgData name="Michael Collier" userId="c2873510-4a44-4d85-aef3-d7e8e051fe69" providerId="ADAL" clId="{CB384C6B-A00D-433E-855E-730CF8DB42CF}" dt="2018-03-07T19:37:24.688" v="531" actId="14100"/>
          <ac:spMkLst>
            <pc:docMk/>
            <pc:sldMk cId="4137199266" sldId="1655"/>
            <ac:spMk id="100" creationId="{0DE6EE40-9F59-4E9A-BD9C-CC53AABE5F74}"/>
          </ac:spMkLst>
        </pc:spChg>
        <pc:spChg chg="add mod">
          <ac:chgData name="Michael Collier" userId="c2873510-4a44-4d85-aef3-d7e8e051fe69" providerId="ADAL" clId="{CB384C6B-A00D-433E-855E-730CF8DB42CF}" dt="2018-03-07T19:37:34.163" v="533" actId="1076"/>
          <ac:spMkLst>
            <pc:docMk/>
            <pc:sldMk cId="4137199266" sldId="1655"/>
            <ac:spMk id="101" creationId="{D4633712-EE56-4982-80BB-18838DC1F5FB}"/>
          </ac:spMkLst>
        </pc:spChg>
        <pc:spChg chg="add mod">
          <ac:chgData name="Michael Collier" userId="c2873510-4a44-4d85-aef3-d7e8e051fe69" providerId="ADAL" clId="{CB384C6B-A00D-433E-855E-730CF8DB42CF}" dt="2018-03-07T19:44:42.790" v="668" actId="1035"/>
          <ac:spMkLst>
            <pc:docMk/>
            <pc:sldMk cId="4137199266" sldId="1655"/>
            <ac:spMk id="102" creationId="{110CE61B-EA6E-49B8-87DC-8D0DAC9BEC31}"/>
          </ac:spMkLst>
        </pc:spChg>
        <pc:spChg chg="add mod">
          <ac:chgData name="Michael Collier" userId="c2873510-4a44-4d85-aef3-d7e8e051fe69" providerId="ADAL" clId="{CB384C6B-A00D-433E-855E-730CF8DB42CF}" dt="2018-03-07T19:40:44.006" v="559" actId="164"/>
          <ac:spMkLst>
            <pc:docMk/>
            <pc:sldMk cId="4137199266" sldId="1655"/>
            <ac:spMk id="104" creationId="{EC3B1274-5479-4EB8-8AA0-E890DB57706E}"/>
          </ac:spMkLst>
        </pc:spChg>
        <pc:spChg chg="add mod">
          <ac:chgData name="Michael Collier" userId="c2873510-4a44-4d85-aef3-d7e8e051fe69" providerId="ADAL" clId="{CB384C6B-A00D-433E-855E-730CF8DB42CF}" dt="2018-03-07T19:40:44.006" v="559" actId="164"/>
          <ac:spMkLst>
            <pc:docMk/>
            <pc:sldMk cId="4137199266" sldId="1655"/>
            <ac:spMk id="105" creationId="{6552BFDA-2A93-400E-B481-7688B3202607}"/>
          </ac:spMkLst>
        </pc:spChg>
        <pc:spChg chg="add mod">
          <ac:chgData name="Michael Collier" userId="c2873510-4a44-4d85-aef3-d7e8e051fe69" providerId="ADAL" clId="{CB384C6B-A00D-433E-855E-730CF8DB42CF}" dt="2018-03-07T19:41:16.789" v="564" actId="1076"/>
          <ac:spMkLst>
            <pc:docMk/>
            <pc:sldMk cId="4137199266" sldId="1655"/>
            <ac:spMk id="111" creationId="{EAD20988-9B84-497C-B896-B32ED9786C60}"/>
          </ac:spMkLst>
        </pc:spChg>
        <pc:spChg chg="add mod">
          <ac:chgData name="Michael Collier" userId="c2873510-4a44-4d85-aef3-d7e8e051fe69" providerId="ADAL" clId="{CB384C6B-A00D-433E-855E-730CF8DB42CF}" dt="2018-03-07T20:10:03.188" v="1258" actId="1076"/>
          <ac:spMkLst>
            <pc:docMk/>
            <pc:sldMk cId="4137199266" sldId="1655"/>
            <ac:spMk id="116" creationId="{F05CBF3A-7224-4098-9E27-FEAC713E49E3}"/>
          </ac:spMkLst>
        </pc:spChg>
        <pc:spChg chg="add mod">
          <ac:chgData name="Michael Collier" userId="c2873510-4a44-4d85-aef3-d7e8e051fe69" providerId="ADAL" clId="{CB384C6B-A00D-433E-855E-730CF8DB42CF}" dt="2018-03-07T20:10:11.451" v="1260" actId="1076"/>
          <ac:spMkLst>
            <pc:docMk/>
            <pc:sldMk cId="4137199266" sldId="1655"/>
            <ac:spMk id="117" creationId="{A1FCFBF7-7DC6-49DE-A4B8-FB3039084F65}"/>
          </ac:spMkLst>
        </pc:spChg>
        <pc:grpChg chg="add mod">
          <ac:chgData name="Michael Collier" userId="c2873510-4a44-4d85-aef3-d7e8e051fe69" providerId="ADAL" clId="{CB384C6B-A00D-433E-855E-730CF8DB42CF}" dt="2018-03-07T19:44:47.819" v="669" actId="1076"/>
          <ac:grpSpMkLst>
            <pc:docMk/>
            <pc:sldMk cId="4137199266" sldId="1655"/>
            <ac:grpSpMk id="3" creationId="{5EE20E4D-C863-4099-BF2C-56236F274949}"/>
          </ac:grpSpMkLst>
        </pc:grpChg>
        <pc:grpChg chg="del">
          <ac:chgData name="Michael Collier" userId="c2873510-4a44-4d85-aef3-d7e8e051fe69" providerId="ADAL" clId="{CB384C6B-A00D-433E-855E-730CF8DB42CF}" dt="2018-03-07T18:17:09.880" v="402" actId="478"/>
          <ac:grpSpMkLst>
            <pc:docMk/>
            <pc:sldMk cId="4137199266" sldId="1655"/>
            <ac:grpSpMk id="15" creationId="{62B23851-BB12-46CA-9560-AD7746E1BF08}"/>
          </ac:grpSpMkLst>
        </pc:grpChg>
        <pc:grpChg chg="mod">
          <ac:chgData name="Michael Collier" userId="c2873510-4a44-4d85-aef3-d7e8e051fe69" providerId="ADAL" clId="{CB384C6B-A00D-433E-855E-730CF8DB42CF}" dt="2018-03-07T19:44:42.790" v="668" actId="1035"/>
          <ac:grpSpMkLst>
            <pc:docMk/>
            <pc:sldMk cId="4137199266" sldId="1655"/>
            <ac:grpSpMk id="24" creationId="{D8924FCF-7C80-41A4-BFA5-3E939B8C1BD4}"/>
          </ac:grpSpMkLst>
        </pc:grpChg>
        <pc:grpChg chg="mod">
          <ac:chgData name="Michael Collier" userId="c2873510-4a44-4d85-aef3-d7e8e051fe69" providerId="ADAL" clId="{CB384C6B-A00D-433E-855E-730CF8DB42CF}" dt="2018-03-07T19:44:42.790" v="668" actId="1035"/>
          <ac:grpSpMkLst>
            <pc:docMk/>
            <pc:sldMk cId="4137199266" sldId="1655"/>
            <ac:grpSpMk id="35" creationId="{D3F8A445-13F3-4814-8EBB-13F1ADA216FF}"/>
          </ac:grpSpMkLst>
        </pc:grpChg>
        <pc:grpChg chg="mod">
          <ac:chgData name="Michael Collier" userId="c2873510-4a44-4d85-aef3-d7e8e051fe69" providerId="ADAL" clId="{CB384C6B-A00D-433E-855E-730CF8DB42CF}" dt="2018-03-07T19:44:42.790" v="668" actId="1035"/>
          <ac:grpSpMkLst>
            <pc:docMk/>
            <pc:sldMk cId="4137199266" sldId="1655"/>
            <ac:grpSpMk id="46" creationId="{886C1EE3-B67A-46EE-8A88-F34E0A3D1201}"/>
          </ac:grpSpMkLst>
        </pc:grpChg>
        <pc:grpChg chg="add mod">
          <ac:chgData name="Michael Collier" userId="c2873510-4a44-4d85-aef3-d7e8e051fe69" providerId="ADAL" clId="{CB384C6B-A00D-433E-855E-730CF8DB42CF}" dt="2018-03-07T19:40:46.982" v="560" actId="1076"/>
          <ac:grpSpMkLst>
            <pc:docMk/>
            <pc:sldMk cId="4137199266" sldId="1655"/>
            <ac:grpSpMk id="109" creationId="{2ED3A587-7A51-460A-A113-932763674297}"/>
          </ac:grpSpMkLst>
        </pc:grpChg>
        <pc:grpChg chg="add mod">
          <ac:chgData name="Michael Collier" userId="c2873510-4a44-4d85-aef3-d7e8e051fe69" providerId="ADAL" clId="{CB384C6B-A00D-433E-855E-730CF8DB42CF}" dt="2018-03-07T19:41:07.541" v="562" actId="1076"/>
          <ac:grpSpMkLst>
            <pc:docMk/>
            <pc:sldMk cId="4137199266" sldId="1655"/>
            <ac:grpSpMk id="110" creationId="{5D7761AD-DABD-4BC5-8169-421805B50625}"/>
          </ac:grpSpMkLst>
        </pc:grpChg>
        <pc:picChg chg="mod ord">
          <ac:chgData name="Michael Collier" userId="c2873510-4a44-4d85-aef3-d7e8e051fe69" providerId="ADAL" clId="{CB384C6B-A00D-433E-855E-730CF8DB42CF}" dt="2018-03-07T18:17:43.694" v="406" actId="164"/>
          <ac:picMkLst>
            <pc:docMk/>
            <pc:sldMk cId="4137199266" sldId="1655"/>
            <ac:picMk id="14" creationId="{9318A858-FE0A-4AAC-860F-D5F1C3EE6DFF}"/>
          </ac:picMkLst>
        </pc:picChg>
        <pc:picChg chg="mod">
          <ac:chgData name="Michael Collier" userId="c2873510-4a44-4d85-aef3-d7e8e051fe69" providerId="ADAL" clId="{CB384C6B-A00D-433E-855E-730CF8DB42CF}" dt="2018-03-07T19:40:54.918" v="561" actId="164"/>
          <ac:picMkLst>
            <pc:docMk/>
            <pc:sldMk cId="4137199266" sldId="1655"/>
            <ac:picMk id="45" creationId="{41CBA9BF-2B06-45D3-BD51-50F24BA5F97F}"/>
          </ac:picMkLst>
        </pc:picChg>
        <pc:picChg chg="mod">
          <ac:chgData name="Michael Collier" userId="c2873510-4a44-4d85-aef3-d7e8e051fe69" providerId="ADAL" clId="{CB384C6B-A00D-433E-855E-730CF8DB42CF}" dt="2018-03-07T19:44:42.790" v="668" actId="1035"/>
          <ac:picMkLst>
            <pc:docMk/>
            <pc:sldMk cId="4137199266" sldId="1655"/>
            <ac:picMk id="57" creationId="{6AB0A3A8-59B6-4AAA-8F51-0A776701027C}"/>
          </ac:picMkLst>
        </pc:picChg>
        <pc:picChg chg="add del mod">
          <ac:chgData name="Michael Collier" userId="c2873510-4a44-4d85-aef3-d7e8e051fe69" providerId="ADAL" clId="{CB384C6B-A00D-433E-855E-730CF8DB42CF}" dt="2018-03-07T19:40:18.003" v="556" actId="478"/>
          <ac:picMkLst>
            <pc:docMk/>
            <pc:sldMk cId="4137199266" sldId="1655"/>
            <ac:picMk id="106" creationId="{F2412B6B-4D77-401A-A609-D16F59A25211}"/>
          </ac:picMkLst>
        </pc:picChg>
        <pc:picChg chg="add mod">
          <ac:chgData name="Michael Collier" userId="c2873510-4a44-4d85-aef3-d7e8e051fe69" providerId="ADAL" clId="{CB384C6B-A00D-433E-855E-730CF8DB42CF}" dt="2018-03-07T19:40:44.006" v="559" actId="164"/>
          <ac:picMkLst>
            <pc:docMk/>
            <pc:sldMk cId="4137199266" sldId="1655"/>
            <ac:picMk id="108" creationId="{EFAABDCB-29B0-4D77-A3AF-753FA41B66DD}"/>
          </ac:picMkLst>
        </pc:picChg>
        <pc:cxnChg chg="add mod">
          <ac:chgData name="Michael Collier" userId="c2873510-4a44-4d85-aef3-d7e8e051fe69" providerId="ADAL" clId="{CB384C6B-A00D-433E-855E-730CF8DB42CF}" dt="2018-03-07T19:44:47.819" v="669" actId="1076"/>
          <ac:cxnSpMkLst>
            <pc:docMk/>
            <pc:sldMk cId="4137199266" sldId="1655"/>
            <ac:cxnSpMk id="18" creationId="{EBDCE580-143F-4F2C-BBFC-AA7ECA670205}"/>
          </ac:cxnSpMkLst>
        </pc:cxnChg>
        <pc:cxnChg chg="add mod">
          <ac:chgData name="Michael Collier" userId="c2873510-4a44-4d85-aef3-d7e8e051fe69" providerId="ADAL" clId="{CB384C6B-A00D-433E-855E-730CF8DB42CF}" dt="2018-03-07T19:44:47.819" v="669" actId="1076"/>
          <ac:cxnSpMkLst>
            <pc:docMk/>
            <pc:sldMk cId="4137199266" sldId="1655"/>
            <ac:cxnSpMk id="40" creationId="{2FA2BCC6-2F3F-4FFE-AD2F-2EF0650F93B3}"/>
          </ac:cxnSpMkLst>
        </pc:cxnChg>
        <pc:cxnChg chg="add mod">
          <ac:chgData name="Michael Collier" userId="c2873510-4a44-4d85-aef3-d7e8e051fe69" providerId="ADAL" clId="{CB384C6B-A00D-433E-855E-730CF8DB42CF}" dt="2018-03-07T19:44:47.819" v="669" actId="1076"/>
          <ac:cxnSpMkLst>
            <pc:docMk/>
            <pc:sldMk cId="4137199266" sldId="1655"/>
            <ac:cxnSpMk id="59" creationId="{786DE1E0-DCF5-4DE0-8048-E7C75F922AB3}"/>
          </ac:cxnSpMkLst>
        </pc:cxnChg>
        <pc:cxnChg chg="add mod">
          <ac:chgData name="Michael Collier" userId="c2873510-4a44-4d85-aef3-d7e8e051fe69" providerId="ADAL" clId="{CB384C6B-A00D-433E-855E-730CF8DB42CF}" dt="2018-03-07T19:44:47.819" v="669" actId="1076"/>
          <ac:cxnSpMkLst>
            <pc:docMk/>
            <pc:sldMk cId="4137199266" sldId="1655"/>
            <ac:cxnSpMk id="61" creationId="{880A936B-86E9-4769-BD2E-8D4413EF6CB6}"/>
          </ac:cxnSpMkLst>
        </pc:cxnChg>
        <pc:cxnChg chg="add mod">
          <ac:chgData name="Michael Collier" userId="c2873510-4a44-4d85-aef3-d7e8e051fe69" providerId="ADAL" clId="{CB384C6B-A00D-433E-855E-730CF8DB42CF}" dt="2018-03-07T19:44:47.819" v="669" actId="1076"/>
          <ac:cxnSpMkLst>
            <pc:docMk/>
            <pc:sldMk cId="4137199266" sldId="1655"/>
            <ac:cxnSpMk id="63" creationId="{F6D1E1E2-BE9E-4235-AE70-5D23B7C5AA0B}"/>
          </ac:cxnSpMkLst>
        </pc:cxnChg>
        <pc:cxnChg chg="add mod">
          <ac:chgData name="Michael Collier" userId="c2873510-4a44-4d85-aef3-d7e8e051fe69" providerId="ADAL" clId="{CB384C6B-A00D-433E-855E-730CF8DB42CF}" dt="2018-03-07T19:44:47.819" v="669" actId="1076"/>
          <ac:cxnSpMkLst>
            <pc:docMk/>
            <pc:sldMk cId="4137199266" sldId="1655"/>
            <ac:cxnSpMk id="65" creationId="{15E3581B-136F-4017-B18F-3B5378CD3DB4}"/>
          </ac:cxnSpMkLst>
        </pc:cxnChg>
        <pc:cxnChg chg="add mod">
          <ac:chgData name="Michael Collier" userId="c2873510-4a44-4d85-aef3-d7e8e051fe69" providerId="ADAL" clId="{CB384C6B-A00D-433E-855E-730CF8DB42CF}" dt="2018-03-07T20:10:40.331" v="1261" actId="14100"/>
          <ac:cxnSpMkLst>
            <pc:docMk/>
            <pc:sldMk cId="4137199266" sldId="1655"/>
            <ac:cxnSpMk id="67" creationId="{6F98AF19-0CE3-4F35-9923-4960111712B6}"/>
          </ac:cxnSpMkLst>
        </pc:cxnChg>
        <pc:cxnChg chg="add mod">
          <ac:chgData name="Michael Collier" userId="c2873510-4a44-4d85-aef3-d7e8e051fe69" providerId="ADAL" clId="{CB384C6B-A00D-433E-855E-730CF8DB42CF}" dt="2018-03-07T19:44:47.819" v="669" actId="1076"/>
          <ac:cxnSpMkLst>
            <pc:docMk/>
            <pc:sldMk cId="4137199266" sldId="1655"/>
            <ac:cxnSpMk id="69" creationId="{196A0E3A-E833-4A4C-B589-DC8A060193E0}"/>
          </ac:cxnSpMkLst>
        </pc:cxnChg>
        <pc:cxnChg chg="add mod">
          <ac:chgData name="Michael Collier" userId="c2873510-4a44-4d85-aef3-d7e8e051fe69" providerId="ADAL" clId="{CB384C6B-A00D-433E-855E-730CF8DB42CF}" dt="2018-03-07T19:44:47.819" v="669" actId="1076"/>
          <ac:cxnSpMkLst>
            <pc:docMk/>
            <pc:sldMk cId="4137199266" sldId="1655"/>
            <ac:cxnSpMk id="71" creationId="{C43E273C-97AC-4275-B4F0-9384575EBFA1}"/>
          </ac:cxnSpMkLst>
        </pc:cxnChg>
        <pc:cxnChg chg="add mod">
          <ac:chgData name="Michael Collier" userId="c2873510-4a44-4d85-aef3-d7e8e051fe69" providerId="ADAL" clId="{CB384C6B-A00D-433E-855E-730CF8DB42CF}" dt="2018-03-07T19:44:47.819" v="669" actId="1076"/>
          <ac:cxnSpMkLst>
            <pc:docMk/>
            <pc:sldMk cId="4137199266" sldId="1655"/>
            <ac:cxnSpMk id="73" creationId="{AEF32D6C-74EE-4CCB-9371-5978A78A239F}"/>
          </ac:cxnSpMkLst>
        </pc:cxnChg>
        <pc:cxnChg chg="add mod">
          <ac:chgData name="Michael Collier" userId="c2873510-4a44-4d85-aef3-d7e8e051fe69" providerId="ADAL" clId="{CB384C6B-A00D-433E-855E-730CF8DB42CF}" dt="2018-03-07T19:44:47.819" v="669" actId="1076"/>
          <ac:cxnSpMkLst>
            <pc:docMk/>
            <pc:sldMk cId="4137199266" sldId="1655"/>
            <ac:cxnSpMk id="75" creationId="{5C5DB5AF-7F12-424E-84D5-C9D281A9C22D}"/>
          </ac:cxnSpMkLst>
        </pc:cxnChg>
        <pc:cxnChg chg="add mod">
          <ac:chgData name="Michael Collier" userId="c2873510-4a44-4d85-aef3-d7e8e051fe69" providerId="ADAL" clId="{CB384C6B-A00D-433E-855E-730CF8DB42CF}" dt="2018-03-07T19:44:47.819" v="669" actId="1076"/>
          <ac:cxnSpMkLst>
            <pc:docMk/>
            <pc:sldMk cId="4137199266" sldId="1655"/>
            <ac:cxnSpMk id="77" creationId="{3F591F58-B951-4D6F-A6E6-CF23EA684D25}"/>
          </ac:cxnSpMkLst>
        </pc:cxnChg>
        <pc:cxnChg chg="add mod">
          <ac:chgData name="Michael Collier" userId="c2873510-4a44-4d85-aef3-d7e8e051fe69" providerId="ADAL" clId="{CB384C6B-A00D-433E-855E-730CF8DB42CF}" dt="2018-03-07T18:22:17.830" v="484" actId="208"/>
          <ac:cxnSpMkLst>
            <pc:docMk/>
            <pc:sldMk cId="4137199266" sldId="1655"/>
            <ac:cxnSpMk id="83" creationId="{156B2881-F75C-4D49-9BE2-FDA2C347A009}"/>
          </ac:cxnSpMkLst>
        </pc:cxnChg>
        <pc:cxnChg chg="add mod">
          <ac:chgData name="Michael Collier" userId="c2873510-4a44-4d85-aef3-d7e8e051fe69" providerId="ADAL" clId="{CB384C6B-A00D-433E-855E-730CF8DB42CF}" dt="2018-03-07T19:45:11.392" v="672" actId="1076"/>
          <ac:cxnSpMkLst>
            <pc:docMk/>
            <pc:sldMk cId="4137199266" sldId="1655"/>
            <ac:cxnSpMk id="85" creationId="{5A54E4C5-F63D-41F0-99B8-B8476C43EC74}"/>
          </ac:cxnSpMkLst>
        </pc:cxnChg>
        <pc:cxnChg chg="add mod">
          <ac:chgData name="Michael Collier" userId="c2873510-4a44-4d85-aef3-d7e8e051fe69" providerId="ADAL" clId="{CB384C6B-A00D-433E-855E-730CF8DB42CF}" dt="2018-03-07T19:44:47.819" v="669" actId="1076"/>
          <ac:cxnSpMkLst>
            <pc:docMk/>
            <pc:sldMk cId="4137199266" sldId="1655"/>
            <ac:cxnSpMk id="113" creationId="{BF9FADF8-A662-4917-A442-E7141D7995FB}"/>
          </ac:cxnSpMkLst>
        </pc:cxnChg>
      </pc:sldChg>
      <pc:sldChg chg="add del">
        <pc:chgData name="Michael Collier" userId="c2873510-4a44-4d85-aef3-d7e8e051fe69" providerId="ADAL" clId="{CB384C6B-A00D-433E-855E-730CF8DB42CF}" dt="2018-03-09T02:17:09.850" v="3172" actId="20577"/>
        <pc:sldMkLst>
          <pc:docMk/>
          <pc:sldMk cId="1261568499" sldId="1656"/>
        </pc:sldMkLst>
      </pc:sldChg>
      <pc:sldChg chg="addSp delSp modSp add del modTransition">
        <pc:chgData name="Michael Collier" userId="c2873510-4a44-4d85-aef3-d7e8e051fe69" providerId="ADAL" clId="{CB384C6B-A00D-433E-855E-730CF8DB42CF}" dt="2018-03-09T03:51:14.822" v="4064" actId="2696"/>
        <pc:sldMkLst>
          <pc:docMk/>
          <pc:sldMk cId="1855744937" sldId="1656"/>
        </pc:sldMkLst>
        <pc:spChg chg="del">
          <ac:chgData name="Michael Collier" userId="c2873510-4a44-4d85-aef3-d7e8e051fe69" providerId="ADAL" clId="{CB384C6B-A00D-433E-855E-730CF8DB42CF}" dt="2018-03-07T20:00:40.628" v="752" actId="20577"/>
          <ac:spMkLst>
            <pc:docMk/>
            <pc:sldMk cId="1855744937" sldId="1656"/>
            <ac:spMk id="2" creationId="{91583D59-65B6-4D38-88C4-1CDD9BB9F839}"/>
          </ac:spMkLst>
        </pc:spChg>
        <pc:spChg chg="add mod">
          <ac:chgData name="Michael Collier" userId="c2873510-4a44-4d85-aef3-d7e8e051fe69" providerId="ADAL" clId="{CB384C6B-A00D-433E-855E-730CF8DB42CF}" dt="2018-03-08T20:34:31.183" v="2618" actId="1076"/>
          <ac:spMkLst>
            <pc:docMk/>
            <pc:sldMk cId="1855744937" sldId="1656"/>
            <ac:spMk id="2" creationId="{1536AA03-E956-44A9-9889-4995418C5687}"/>
          </ac:spMkLst>
        </pc:spChg>
        <pc:spChg chg="del">
          <ac:chgData name="Michael Collier" userId="c2873510-4a44-4d85-aef3-d7e8e051fe69" providerId="ADAL" clId="{CB384C6B-A00D-433E-855E-730CF8DB42CF}" dt="2018-03-07T20:00:40.628" v="752" actId="20577"/>
          <ac:spMkLst>
            <pc:docMk/>
            <pc:sldMk cId="1855744937" sldId="1656"/>
            <ac:spMk id="3" creationId="{1325E2E3-1184-41C5-9E1C-6A06C285C80C}"/>
          </ac:spMkLst>
        </pc:spChg>
        <pc:spChg chg="add del mod">
          <ac:chgData name="Michael Collier" userId="c2873510-4a44-4d85-aef3-d7e8e051fe69" providerId="ADAL" clId="{CB384C6B-A00D-433E-855E-730CF8DB42CF}" dt="2018-03-08T20:33:49.739" v="2614" actId="478"/>
          <ac:spMkLst>
            <pc:docMk/>
            <pc:sldMk cId="1855744937" sldId="1656"/>
            <ac:spMk id="4" creationId="{42DE0A9A-2EC0-43CA-A521-4B9373FEDBCE}"/>
          </ac:spMkLst>
        </pc:spChg>
        <pc:spChg chg="add del mod">
          <ac:chgData name="Michael Collier" userId="c2873510-4a44-4d85-aef3-d7e8e051fe69" providerId="ADAL" clId="{CB384C6B-A00D-433E-855E-730CF8DB42CF}" dt="2018-03-08T20:34:09.740" v="2617" actId="12"/>
          <ac:spMkLst>
            <pc:docMk/>
            <pc:sldMk cId="1855744937" sldId="1656"/>
            <ac:spMk id="5" creationId="{A451B96F-B7DC-4066-9868-810A8308F18B}"/>
          </ac:spMkLst>
        </pc:spChg>
      </pc:sldChg>
      <pc:sldChg chg="delSp modSp add">
        <pc:chgData name="Michael Collier" userId="c2873510-4a44-4d85-aef3-d7e8e051fe69" providerId="ADAL" clId="{CB384C6B-A00D-433E-855E-730CF8DB42CF}" dt="2018-03-07T20:24:16.128" v="1423" actId="14100"/>
        <pc:sldMkLst>
          <pc:docMk/>
          <pc:sldMk cId="3726020181" sldId="1658"/>
        </pc:sldMkLst>
        <pc:spChg chg="del">
          <ac:chgData name="Michael Collier" userId="c2873510-4a44-4d85-aef3-d7e8e051fe69" providerId="ADAL" clId="{CB384C6B-A00D-433E-855E-730CF8DB42CF}" dt="2018-03-07T20:23:47.840" v="1416" actId="478"/>
          <ac:spMkLst>
            <pc:docMk/>
            <pc:sldMk cId="3726020181" sldId="1658"/>
            <ac:spMk id="8" creationId="{BA0B0077-99B4-4336-AE46-D91BFA4118B9}"/>
          </ac:spMkLst>
        </pc:spChg>
        <pc:spChg chg="del">
          <ac:chgData name="Michael Collier" userId="c2873510-4a44-4d85-aef3-d7e8e051fe69" providerId="ADAL" clId="{CB384C6B-A00D-433E-855E-730CF8DB42CF}" dt="2018-03-07T20:23:47.840" v="1416" actId="478"/>
          <ac:spMkLst>
            <pc:docMk/>
            <pc:sldMk cId="3726020181" sldId="1658"/>
            <ac:spMk id="10" creationId="{4997BDF7-4A6B-448F-8F18-2287B6B5F27A}"/>
          </ac:spMkLst>
        </pc:spChg>
        <pc:spChg chg="del">
          <ac:chgData name="Michael Collier" userId="c2873510-4a44-4d85-aef3-d7e8e051fe69" providerId="ADAL" clId="{CB384C6B-A00D-433E-855E-730CF8DB42CF}" dt="2018-03-07T20:23:47.840" v="1416" actId="478"/>
          <ac:spMkLst>
            <pc:docMk/>
            <pc:sldMk cId="3726020181" sldId="1658"/>
            <ac:spMk id="11" creationId="{7CBD2F54-B79D-4FD8-8316-4D5B55EF4F68}"/>
          </ac:spMkLst>
        </pc:spChg>
        <pc:spChg chg="mod">
          <ac:chgData name="Michael Collier" userId="c2873510-4a44-4d85-aef3-d7e8e051fe69" providerId="ADAL" clId="{CB384C6B-A00D-433E-855E-730CF8DB42CF}" dt="2018-03-07T20:24:16.128" v="1423" actId="14100"/>
          <ac:spMkLst>
            <pc:docMk/>
            <pc:sldMk cId="3726020181" sldId="1658"/>
            <ac:spMk id="22" creationId="{C7317A8D-A6C0-4A0D-85FD-016C9F91EA50}"/>
          </ac:spMkLst>
        </pc:spChg>
        <pc:spChg chg="mod">
          <ac:chgData name="Michael Collier" userId="c2873510-4a44-4d85-aef3-d7e8e051fe69" providerId="ADAL" clId="{CB384C6B-A00D-433E-855E-730CF8DB42CF}" dt="2018-03-07T20:24:16.128" v="1423" actId="14100"/>
          <ac:spMkLst>
            <pc:docMk/>
            <pc:sldMk cId="3726020181" sldId="1658"/>
            <ac:spMk id="23" creationId="{219079FA-D2A4-4C17-969D-B81F585DB34B}"/>
          </ac:spMkLst>
        </pc:spChg>
        <pc:spChg chg="mod">
          <ac:chgData name="Michael Collier" userId="c2873510-4a44-4d85-aef3-d7e8e051fe69" providerId="ADAL" clId="{CB384C6B-A00D-433E-855E-730CF8DB42CF}" dt="2018-03-07T20:24:16.128" v="1423" actId="14100"/>
          <ac:spMkLst>
            <pc:docMk/>
            <pc:sldMk cId="3726020181" sldId="1658"/>
            <ac:spMk id="24" creationId="{C8D5118A-05A3-4CA5-AC33-87042FD89015}"/>
          </ac:spMkLst>
        </pc:spChg>
        <pc:spChg chg="del">
          <ac:chgData name="Michael Collier" userId="c2873510-4a44-4d85-aef3-d7e8e051fe69" providerId="ADAL" clId="{CB384C6B-A00D-433E-855E-730CF8DB42CF}" dt="2018-03-07T20:23:51.373" v="1417" actId="478"/>
          <ac:spMkLst>
            <pc:docMk/>
            <pc:sldMk cId="3726020181" sldId="1658"/>
            <ac:spMk id="25" creationId="{15066D2F-CB03-4924-BEF2-308B4FF0014D}"/>
          </ac:spMkLst>
        </pc:spChg>
        <pc:spChg chg="del">
          <ac:chgData name="Michael Collier" userId="c2873510-4a44-4d85-aef3-d7e8e051fe69" providerId="ADAL" clId="{CB384C6B-A00D-433E-855E-730CF8DB42CF}" dt="2018-03-07T20:23:51.373" v="1417" actId="478"/>
          <ac:spMkLst>
            <pc:docMk/>
            <pc:sldMk cId="3726020181" sldId="1658"/>
            <ac:spMk id="26" creationId="{D554A679-31B7-4202-99D8-9B3B11E0C334}"/>
          </ac:spMkLst>
        </pc:spChg>
        <pc:spChg chg="del">
          <ac:chgData name="Michael Collier" userId="c2873510-4a44-4d85-aef3-d7e8e051fe69" providerId="ADAL" clId="{CB384C6B-A00D-433E-855E-730CF8DB42CF}" dt="2018-03-07T20:23:51.373" v="1417" actId="478"/>
          <ac:spMkLst>
            <pc:docMk/>
            <pc:sldMk cId="3726020181" sldId="1658"/>
            <ac:spMk id="27" creationId="{AD0819E6-7AF3-42A6-8550-40664449692B}"/>
          </ac:spMkLst>
        </pc:spChg>
      </pc:sldChg>
      <pc:sldChg chg="addSp delSp modSp add">
        <pc:chgData name="Michael Collier" userId="c2873510-4a44-4d85-aef3-d7e8e051fe69" providerId="ADAL" clId="{CB384C6B-A00D-433E-855E-730CF8DB42CF}" dt="2018-03-07T20:34:40.712" v="1450" actId="1076"/>
        <pc:sldMkLst>
          <pc:docMk/>
          <pc:sldMk cId="2209679291" sldId="1659"/>
        </pc:sldMkLst>
        <pc:picChg chg="add del mod">
          <ac:chgData name="Michael Collier" userId="c2873510-4a44-4d85-aef3-d7e8e051fe69" providerId="ADAL" clId="{CB384C6B-A00D-433E-855E-730CF8DB42CF}" dt="2018-03-07T20:34:06.532" v="1448" actId="478"/>
          <ac:picMkLst>
            <pc:docMk/>
            <pc:sldMk cId="2209679291" sldId="1659"/>
            <ac:picMk id="7" creationId="{1B6F24D7-3A01-470E-A235-624C6626BA14}"/>
          </ac:picMkLst>
        </pc:picChg>
        <pc:picChg chg="del">
          <ac:chgData name="Michael Collier" userId="c2873510-4a44-4d85-aef3-d7e8e051fe69" providerId="ADAL" clId="{CB384C6B-A00D-433E-855E-730CF8DB42CF}" dt="2018-03-07T20:33:49.732" v="1442" actId="478"/>
          <ac:picMkLst>
            <pc:docMk/>
            <pc:sldMk cId="2209679291" sldId="1659"/>
            <ac:picMk id="8" creationId="{0E1A9A5C-7D3F-45C9-99F8-2D3C1B7F8FFF}"/>
          </ac:picMkLst>
        </pc:picChg>
        <pc:picChg chg="del">
          <ac:chgData name="Michael Collier" userId="c2873510-4a44-4d85-aef3-d7e8e051fe69" providerId="ADAL" clId="{CB384C6B-A00D-433E-855E-730CF8DB42CF}" dt="2018-03-07T20:33:49.732" v="1442" actId="478"/>
          <ac:picMkLst>
            <pc:docMk/>
            <pc:sldMk cId="2209679291" sldId="1659"/>
            <ac:picMk id="9" creationId="{4D159CE7-2947-4BBD-88BD-385A47432048}"/>
          </ac:picMkLst>
        </pc:picChg>
        <pc:picChg chg="del">
          <ac:chgData name="Michael Collier" userId="c2873510-4a44-4d85-aef3-d7e8e051fe69" providerId="ADAL" clId="{CB384C6B-A00D-433E-855E-730CF8DB42CF}" dt="2018-03-07T20:33:49.732" v="1442" actId="478"/>
          <ac:picMkLst>
            <pc:docMk/>
            <pc:sldMk cId="2209679291" sldId="1659"/>
            <ac:picMk id="10" creationId="{94F4B4AD-13F0-4F41-BE1F-BCDFDD8A5056}"/>
          </ac:picMkLst>
        </pc:picChg>
        <pc:picChg chg="add mod">
          <ac:chgData name="Michael Collier" userId="c2873510-4a44-4d85-aef3-d7e8e051fe69" providerId="ADAL" clId="{CB384C6B-A00D-433E-855E-730CF8DB42CF}" dt="2018-03-07T20:34:40.712" v="1450" actId="1076"/>
          <ac:picMkLst>
            <pc:docMk/>
            <pc:sldMk cId="2209679291" sldId="1659"/>
            <ac:picMk id="11" creationId="{2DEEFFC7-368D-4C4E-9583-98A52266E6D5}"/>
          </ac:picMkLst>
        </pc:picChg>
      </pc:sldChg>
      <pc:sldChg chg="add modNotesTx">
        <pc:chgData name="Michael Collier" userId="c2873510-4a44-4d85-aef3-d7e8e051fe69" providerId="ADAL" clId="{CB384C6B-A00D-433E-855E-730CF8DB42CF}" dt="2018-03-09T03:39:19.134" v="3935" actId="20577"/>
        <pc:sldMkLst>
          <pc:docMk/>
          <pc:sldMk cId="3047511347" sldId="1660"/>
        </pc:sldMkLst>
      </pc:sldChg>
      <pc:sldChg chg="addSp modSp modAnim modNotesTx">
        <pc:chgData name="Michael Collier" userId="c2873510-4a44-4d85-aef3-d7e8e051fe69" providerId="ADAL" clId="{CB384C6B-A00D-433E-855E-730CF8DB42CF}" dt="2018-03-09T02:54:29.630" v="3641" actId="20577"/>
        <pc:sldMkLst>
          <pc:docMk/>
          <pc:sldMk cId="262099377" sldId="1661"/>
        </pc:sldMkLst>
        <pc:spChg chg="mod">
          <ac:chgData name="Michael Collier" userId="c2873510-4a44-4d85-aef3-d7e8e051fe69" providerId="ADAL" clId="{CB384C6B-A00D-433E-855E-730CF8DB42CF}" dt="2018-03-09T02:52:25.042" v="3589" actId="20577"/>
          <ac:spMkLst>
            <pc:docMk/>
            <pc:sldMk cId="262099377" sldId="1661"/>
            <ac:spMk id="4" creationId="{526AC09D-9147-4AF7-8778-6132B927E687}"/>
          </ac:spMkLst>
        </pc:spChg>
        <pc:spChg chg="add mod">
          <ac:chgData name="Michael Collier" userId="c2873510-4a44-4d85-aef3-d7e8e051fe69" providerId="ADAL" clId="{CB384C6B-A00D-433E-855E-730CF8DB42CF}" dt="2018-03-09T02:53:07.270" v="3593" actId="14100"/>
          <ac:spMkLst>
            <pc:docMk/>
            <pc:sldMk cId="262099377" sldId="1661"/>
            <ac:spMk id="5" creationId="{85507F2D-1F03-4D8F-9762-02864956E9E1}"/>
          </ac:spMkLst>
        </pc:spChg>
        <pc:spChg chg="add mod">
          <ac:chgData name="Michael Collier" userId="c2873510-4a44-4d85-aef3-d7e8e051fe69" providerId="ADAL" clId="{CB384C6B-A00D-433E-855E-730CF8DB42CF}" dt="2018-03-09T02:53:28.954" v="3634" actId="1076"/>
          <ac:spMkLst>
            <pc:docMk/>
            <pc:sldMk cId="262099377" sldId="1661"/>
            <ac:spMk id="6" creationId="{ABAC17D6-4F9D-43ED-B6EB-C913F22E3C6B}"/>
          </ac:spMkLst>
        </pc:spChg>
        <pc:spChg chg="add mod">
          <ac:chgData name="Michael Collier" userId="c2873510-4a44-4d85-aef3-d7e8e051fe69" providerId="ADAL" clId="{CB384C6B-A00D-433E-855E-730CF8DB42CF}" dt="2018-03-09T02:53:57.176" v="3640" actId="207"/>
          <ac:spMkLst>
            <pc:docMk/>
            <pc:sldMk cId="262099377" sldId="1661"/>
            <ac:spMk id="7" creationId="{7D4EE6D5-A52E-48D9-95AE-9B6A8607AD05}"/>
          </ac:spMkLst>
        </pc:spChg>
      </pc:sldChg>
      <pc:sldChg chg="addSp delSp modSp">
        <pc:chgData name="Michael Collier" userId="c2873510-4a44-4d85-aef3-d7e8e051fe69" providerId="ADAL" clId="{CB384C6B-A00D-433E-855E-730CF8DB42CF}" dt="2018-03-09T03:14:02.925" v="3874" actId="1076"/>
        <pc:sldMkLst>
          <pc:docMk/>
          <pc:sldMk cId="3043514267" sldId="1662"/>
        </pc:sldMkLst>
        <pc:spChg chg="mod">
          <ac:chgData name="Michael Collier" userId="c2873510-4a44-4d85-aef3-d7e8e051fe69" providerId="ADAL" clId="{CB384C6B-A00D-433E-855E-730CF8DB42CF}" dt="2018-03-09T03:07:45.998" v="3796" actId="1076"/>
          <ac:spMkLst>
            <pc:docMk/>
            <pc:sldMk cId="3043514267" sldId="1662"/>
            <ac:spMk id="3" creationId="{C90F2EC7-6F9E-41DA-810C-9C326531E820}"/>
          </ac:spMkLst>
        </pc:spChg>
        <pc:spChg chg="add mod">
          <ac:chgData name="Michael Collier" userId="c2873510-4a44-4d85-aef3-d7e8e051fe69" providerId="ADAL" clId="{CB384C6B-A00D-433E-855E-730CF8DB42CF}" dt="2018-03-09T03:11:38.872" v="3856" actId="164"/>
          <ac:spMkLst>
            <pc:docMk/>
            <pc:sldMk cId="3043514267" sldId="1662"/>
            <ac:spMk id="5" creationId="{E692B067-27BA-485C-BF24-A1479C4D2D0F}"/>
          </ac:spMkLst>
        </pc:spChg>
        <pc:spChg chg="add mod">
          <ac:chgData name="Michael Collier" userId="c2873510-4a44-4d85-aef3-d7e8e051fe69" providerId="ADAL" clId="{CB384C6B-A00D-433E-855E-730CF8DB42CF}" dt="2018-03-09T03:14:02.925" v="3874" actId="1076"/>
          <ac:spMkLst>
            <pc:docMk/>
            <pc:sldMk cId="3043514267" sldId="1662"/>
            <ac:spMk id="22" creationId="{BF913488-7C13-4076-8E00-A3F9FF9EFFE0}"/>
          </ac:spMkLst>
        </pc:spChg>
        <pc:spChg chg="add mod">
          <ac:chgData name="Michael Collier" userId="c2873510-4a44-4d85-aef3-d7e8e051fe69" providerId="ADAL" clId="{CB384C6B-A00D-433E-855E-730CF8DB42CF}" dt="2018-03-09T03:08:37.600" v="3840" actId="20577"/>
          <ac:spMkLst>
            <pc:docMk/>
            <pc:sldMk cId="3043514267" sldId="1662"/>
            <ac:spMk id="27" creationId="{32E7073C-F531-4677-B305-9E779B6CD80A}"/>
          </ac:spMkLst>
        </pc:spChg>
        <pc:spChg chg="add mod">
          <ac:chgData name="Michael Collier" userId="c2873510-4a44-4d85-aef3-d7e8e051fe69" providerId="ADAL" clId="{CB384C6B-A00D-433E-855E-730CF8DB42CF}" dt="2018-03-09T03:08:23.385" v="3814" actId="20577"/>
          <ac:spMkLst>
            <pc:docMk/>
            <pc:sldMk cId="3043514267" sldId="1662"/>
            <ac:spMk id="29" creationId="{C7293974-0A67-4541-ADA1-D6EFEDA36FF6}"/>
          </ac:spMkLst>
        </pc:spChg>
        <pc:spChg chg="mod">
          <ac:chgData name="Michael Collier" userId="c2873510-4a44-4d85-aef3-d7e8e051fe69" providerId="ADAL" clId="{CB384C6B-A00D-433E-855E-730CF8DB42CF}" dt="2018-03-09T03:05:03.813" v="3709" actId="1076"/>
          <ac:spMkLst>
            <pc:docMk/>
            <pc:sldMk cId="3043514267" sldId="1662"/>
            <ac:spMk id="44" creationId="{FB83EA8B-F513-45D3-9D7E-3ED03A62914C}"/>
          </ac:spMkLst>
        </pc:spChg>
        <pc:spChg chg="mod">
          <ac:chgData name="Michael Collier" userId="c2873510-4a44-4d85-aef3-d7e8e051fe69" providerId="ADAL" clId="{CB384C6B-A00D-433E-855E-730CF8DB42CF}" dt="2018-03-09T03:04:43.813" v="3708" actId="1076"/>
          <ac:spMkLst>
            <pc:docMk/>
            <pc:sldMk cId="3043514267" sldId="1662"/>
            <ac:spMk id="45" creationId="{B99F20DC-5C83-48AD-A39B-A9DDB8B10CCF}"/>
          </ac:spMkLst>
        </pc:spChg>
        <pc:spChg chg="mod">
          <ac:chgData name="Michael Collier" userId="c2873510-4a44-4d85-aef3-d7e8e051fe69" providerId="ADAL" clId="{CB384C6B-A00D-433E-855E-730CF8DB42CF}" dt="2018-03-09T03:07:51.893" v="3797" actId="1076"/>
          <ac:spMkLst>
            <pc:docMk/>
            <pc:sldMk cId="3043514267" sldId="1662"/>
            <ac:spMk id="53" creationId="{CC30763B-14AD-4573-B5BB-F899A6A0CD2C}"/>
          </ac:spMkLst>
        </pc:spChg>
        <pc:grpChg chg="add mod">
          <ac:chgData name="Michael Collier" userId="c2873510-4a44-4d85-aef3-d7e8e051fe69" providerId="ADAL" clId="{CB384C6B-A00D-433E-855E-730CF8DB42CF}" dt="2018-03-09T03:13:08.922" v="3862" actId="1076"/>
          <ac:grpSpMkLst>
            <pc:docMk/>
            <pc:sldMk cId="3043514267" sldId="1662"/>
            <ac:grpSpMk id="21" creationId="{157AA2C8-F2A8-433F-9225-B0DF5124318A}"/>
          </ac:grpSpMkLst>
        </pc:grpChg>
        <pc:picChg chg="mod">
          <ac:chgData name="Michael Collier" userId="c2873510-4a44-4d85-aef3-d7e8e051fe69" providerId="ADAL" clId="{CB384C6B-A00D-433E-855E-730CF8DB42CF}" dt="2018-03-09T03:04:43.813" v="3708" actId="1076"/>
          <ac:picMkLst>
            <pc:docMk/>
            <pc:sldMk cId="3043514267" sldId="1662"/>
            <ac:picMk id="7" creationId="{6C9AF421-0E93-4E51-9F48-FB1ABF74855F}"/>
          </ac:picMkLst>
        </pc:picChg>
        <pc:picChg chg="mod">
          <ac:chgData name="Michael Collier" userId="c2873510-4a44-4d85-aef3-d7e8e051fe69" providerId="ADAL" clId="{CB384C6B-A00D-433E-855E-730CF8DB42CF}" dt="2018-03-09T03:05:03.813" v="3709" actId="1076"/>
          <ac:picMkLst>
            <pc:docMk/>
            <pc:sldMk cId="3043514267" sldId="1662"/>
            <ac:picMk id="9" creationId="{062A829D-0DC3-4FDA-8BC6-924C5DA85586}"/>
          </ac:picMkLst>
        </pc:picChg>
        <pc:picChg chg="add mod">
          <ac:chgData name="Michael Collier" userId="c2873510-4a44-4d85-aef3-d7e8e051fe69" providerId="ADAL" clId="{CB384C6B-A00D-433E-855E-730CF8DB42CF}" dt="2018-03-09T03:07:00.420" v="3786" actId="1076"/>
          <ac:picMkLst>
            <pc:docMk/>
            <pc:sldMk cId="3043514267" sldId="1662"/>
            <ac:picMk id="28" creationId="{4BB4CCED-AF42-4262-94AD-22FD27DADB2B}"/>
          </ac:picMkLst>
        </pc:picChg>
        <pc:picChg chg="mod">
          <ac:chgData name="Michael Collier" userId="c2873510-4a44-4d85-aef3-d7e8e051fe69" providerId="ADAL" clId="{CB384C6B-A00D-433E-855E-730CF8DB42CF}" dt="2018-03-09T03:04:43.813" v="3708" actId="1076"/>
          <ac:picMkLst>
            <pc:docMk/>
            <pc:sldMk cId="3043514267" sldId="1662"/>
            <ac:picMk id="65" creationId="{B173E468-3B3F-4F5C-838B-9227E959706A}"/>
          </ac:picMkLst>
        </pc:picChg>
        <pc:picChg chg="mod">
          <ac:chgData name="Michael Collier" userId="c2873510-4a44-4d85-aef3-d7e8e051fe69" providerId="ADAL" clId="{CB384C6B-A00D-433E-855E-730CF8DB42CF}" dt="2018-03-09T03:05:03.813" v="3709" actId="1076"/>
          <ac:picMkLst>
            <pc:docMk/>
            <pc:sldMk cId="3043514267" sldId="1662"/>
            <ac:picMk id="69" creationId="{782715FF-3514-481D-A60F-11F8E18E8639}"/>
          </ac:picMkLst>
        </pc:picChg>
        <pc:cxnChg chg="add del mod">
          <ac:chgData name="Michael Collier" userId="c2873510-4a44-4d85-aef3-d7e8e051fe69" providerId="ADAL" clId="{CB384C6B-A00D-433E-855E-730CF8DB42CF}" dt="2018-03-09T03:09:55.397" v="3845" actId="478"/>
          <ac:cxnSpMkLst>
            <pc:docMk/>
            <pc:sldMk cId="3043514267" sldId="1662"/>
            <ac:cxnSpMk id="10" creationId="{E8C6C396-EE31-415A-AAE6-C4CCE66A3BE3}"/>
          </ac:cxnSpMkLst>
        </pc:cxnChg>
        <pc:cxnChg chg="add del mod">
          <ac:chgData name="Michael Collier" userId="c2873510-4a44-4d85-aef3-d7e8e051fe69" providerId="ADAL" clId="{CB384C6B-A00D-433E-855E-730CF8DB42CF}" dt="2018-03-09T03:09:55.397" v="3845" actId="478"/>
          <ac:cxnSpMkLst>
            <pc:docMk/>
            <pc:sldMk cId="3043514267" sldId="1662"/>
            <ac:cxnSpMk id="13" creationId="{E0F84192-6897-4DA4-8DCA-342978A66DC7}"/>
          </ac:cxnSpMkLst>
        </pc:cxnChg>
        <pc:cxnChg chg="add mod">
          <ac:chgData name="Michael Collier" userId="c2873510-4a44-4d85-aef3-d7e8e051fe69" providerId="ADAL" clId="{CB384C6B-A00D-433E-855E-730CF8DB42CF}" dt="2018-03-09T03:12:36.578" v="3861" actId="1076"/>
          <ac:cxnSpMkLst>
            <pc:docMk/>
            <pc:sldMk cId="3043514267" sldId="1662"/>
            <ac:cxnSpMk id="16" creationId="{DBFF419A-CEB9-4F73-9CDF-4C42F57D762A}"/>
          </ac:cxnSpMkLst>
        </pc:cxnChg>
        <pc:cxnChg chg="add mod">
          <ac:chgData name="Michael Collier" userId="c2873510-4a44-4d85-aef3-d7e8e051fe69" providerId="ADAL" clId="{CB384C6B-A00D-433E-855E-730CF8DB42CF}" dt="2018-03-09T03:12:36.578" v="3861" actId="1076"/>
          <ac:cxnSpMkLst>
            <pc:docMk/>
            <pc:sldMk cId="3043514267" sldId="1662"/>
            <ac:cxnSpMk id="18" creationId="{9AE02235-E687-46D6-A587-F16DC06D367A}"/>
          </ac:cxnSpMkLst>
        </pc:cxnChg>
      </pc:sldChg>
      <pc:sldChg chg="addSp delSp modSp modAnim modNotesTx">
        <pc:chgData name="Michael Collier" userId="c2873510-4a44-4d85-aef3-d7e8e051fe69" providerId="ADAL" clId="{CB384C6B-A00D-433E-855E-730CF8DB42CF}" dt="2018-03-09T03:20:24.758" v="3882" actId="208"/>
        <pc:sldMkLst>
          <pc:docMk/>
          <pc:sldMk cId="2800481030" sldId="1663"/>
        </pc:sldMkLst>
        <pc:spChg chg="add mod topLvl">
          <ac:chgData name="Michael Collier" userId="c2873510-4a44-4d85-aef3-d7e8e051fe69" providerId="ADAL" clId="{CB384C6B-A00D-433E-855E-730CF8DB42CF}" dt="2018-03-09T03:20:24.758" v="3882" actId="208"/>
          <ac:spMkLst>
            <pc:docMk/>
            <pc:sldMk cId="2800481030" sldId="1663"/>
            <ac:spMk id="2" creationId="{8B2EAE1E-91C7-4D77-8232-2AB1B5A47C60}"/>
          </ac:spMkLst>
        </pc:spChg>
        <pc:spChg chg="mod">
          <ac:chgData name="Michael Collier" userId="c2873510-4a44-4d85-aef3-d7e8e051fe69" providerId="ADAL" clId="{CB384C6B-A00D-433E-855E-730CF8DB42CF}" dt="2018-03-08T20:57:10.412" v="3049" actId="20577"/>
          <ac:spMkLst>
            <pc:docMk/>
            <pc:sldMk cId="2800481030" sldId="1663"/>
            <ac:spMk id="8" creationId="{00000000-0000-0000-0000-000000000000}"/>
          </ac:spMkLst>
        </pc:spChg>
        <pc:spChg chg="add del">
          <ac:chgData name="Michael Collier" userId="c2873510-4a44-4d85-aef3-d7e8e051fe69" providerId="ADAL" clId="{CB384C6B-A00D-433E-855E-730CF8DB42CF}" dt="2018-03-08T20:52:37.535" v="2767" actId="208"/>
          <ac:spMkLst>
            <pc:docMk/>
            <pc:sldMk cId="2800481030" sldId="1663"/>
            <ac:spMk id="26" creationId="{4225AFA2-1EA7-4609-BF5F-58FB337A4F5B}"/>
          </ac:spMkLst>
        </pc:spChg>
        <pc:spChg chg="add del">
          <ac:chgData name="Michael Collier" userId="c2873510-4a44-4d85-aef3-d7e8e051fe69" providerId="ADAL" clId="{CB384C6B-A00D-433E-855E-730CF8DB42CF}" dt="2018-03-08T20:52:37.535" v="2767" actId="208"/>
          <ac:spMkLst>
            <pc:docMk/>
            <pc:sldMk cId="2800481030" sldId="1663"/>
            <ac:spMk id="27" creationId="{3E840D0C-B2F4-4FAE-B36B-AFAD97C3BC70}"/>
          </ac:spMkLst>
        </pc:spChg>
        <pc:spChg chg="add del">
          <ac:chgData name="Michael Collier" userId="c2873510-4a44-4d85-aef3-d7e8e051fe69" providerId="ADAL" clId="{CB384C6B-A00D-433E-855E-730CF8DB42CF}" dt="2018-03-08T20:52:37.535" v="2767" actId="208"/>
          <ac:spMkLst>
            <pc:docMk/>
            <pc:sldMk cId="2800481030" sldId="1663"/>
            <ac:spMk id="63" creationId="{4DA0EDB5-93E6-4C87-B345-00315B5197DE}"/>
          </ac:spMkLst>
        </pc:spChg>
        <pc:spChg chg="add del">
          <ac:chgData name="Michael Collier" userId="c2873510-4a44-4d85-aef3-d7e8e051fe69" providerId="ADAL" clId="{CB384C6B-A00D-433E-855E-730CF8DB42CF}" dt="2018-03-08T20:52:37.535" v="2767" actId="208"/>
          <ac:spMkLst>
            <pc:docMk/>
            <pc:sldMk cId="2800481030" sldId="1663"/>
            <ac:spMk id="65" creationId="{9DB7BA19-2C75-4611-A043-FC3FEAFEFFE9}"/>
          </ac:spMkLst>
        </pc:spChg>
        <pc:spChg chg="add del">
          <ac:chgData name="Michael Collier" userId="c2873510-4a44-4d85-aef3-d7e8e051fe69" providerId="ADAL" clId="{CB384C6B-A00D-433E-855E-730CF8DB42CF}" dt="2018-03-08T20:52:37.535" v="2767" actId="208"/>
          <ac:spMkLst>
            <pc:docMk/>
            <pc:sldMk cId="2800481030" sldId="1663"/>
            <ac:spMk id="66" creationId="{BD43034E-EC32-41F7-B715-98615CDF4390}"/>
          </ac:spMkLst>
        </pc:spChg>
        <pc:spChg chg="add del">
          <ac:chgData name="Michael Collier" userId="c2873510-4a44-4d85-aef3-d7e8e051fe69" providerId="ADAL" clId="{CB384C6B-A00D-433E-855E-730CF8DB42CF}" dt="2018-03-08T20:52:37.535" v="2767" actId="208"/>
          <ac:spMkLst>
            <pc:docMk/>
            <pc:sldMk cId="2800481030" sldId="1663"/>
            <ac:spMk id="68" creationId="{94D6E16F-4380-419E-A5A3-A2963A51BFBA}"/>
          </ac:spMkLst>
        </pc:spChg>
        <pc:spChg chg="add del">
          <ac:chgData name="Michael Collier" userId="c2873510-4a44-4d85-aef3-d7e8e051fe69" providerId="ADAL" clId="{CB384C6B-A00D-433E-855E-730CF8DB42CF}" dt="2018-03-08T20:52:37.535" v="2767" actId="208"/>
          <ac:spMkLst>
            <pc:docMk/>
            <pc:sldMk cId="2800481030" sldId="1663"/>
            <ac:spMk id="69" creationId="{11FDF149-A7C4-49E7-B2C4-130C5D5E421B}"/>
          </ac:spMkLst>
        </pc:spChg>
        <pc:spChg chg="add del">
          <ac:chgData name="Michael Collier" userId="c2873510-4a44-4d85-aef3-d7e8e051fe69" providerId="ADAL" clId="{CB384C6B-A00D-433E-855E-730CF8DB42CF}" dt="2018-03-08T20:52:37.535" v="2767" actId="208"/>
          <ac:spMkLst>
            <pc:docMk/>
            <pc:sldMk cId="2800481030" sldId="1663"/>
            <ac:spMk id="70" creationId="{B15C58E1-5DE6-4687-B3E4-2EB2C9AA2D27}"/>
          </ac:spMkLst>
        </pc:spChg>
        <pc:spChg chg="add del">
          <ac:chgData name="Michael Collier" userId="c2873510-4a44-4d85-aef3-d7e8e051fe69" providerId="ADAL" clId="{CB384C6B-A00D-433E-855E-730CF8DB42CF}" dt="2018-03-08T20:52:37.535" v="2767" actId="208"/>
          <ac:spMkLst>
            <pc:docMk/>
            <pc:sldMk cId="2800481030" sldId="1663"/>
            <ac:spMk id="71" creationId="{B8679A3C-8567-491F-8F33-0F0ED20FB0FE}"/>
          </ac:spMkLst>
        </pc:spChg>
        <pc:spChg chg="add del">
          <ac:chgData name="Michael Collier" userId="c2873510-4a44-4d85-aef3-d7e8e051fe69" providerId="ADAL" clId="{CB384C6B-A00D-433E-855E-730CF8DB42CF}" dt="2018-03-08T20:52:37.535" v="2767" actId="208"/>
          <ac:spMkLst>
            <pc:docMk/>
            <pc:sldMk cId="2800481030" sldId="1663"/>
            <ac:spMk id="72" creationId="{09EECE79-86BA-49C6-9003-8BFE3B8D5B62}"/>
          </ac:spMkLst>
        </pc:spChg>
        <pc:spChg chg="add del">
          <ac:chgData name="Michael Collier" userId="c2873510-4a44-4d85-aef3-d7e8e051fe69" providerId="ADAL" clId="{CB384C6B-A00D-433E-855E-730CF8DB42CF}" dt="2018-03-08T20:52:45.314" v="2769" actId="208"/>
          <ac:spMkLst>
            <pc:docMk/>
            <pc:sldMk cId="2800481030" sldId="1663"/>
            <ac:spMk id="91" creationId="{C7D94583-FDBC-4B33-9708-3D24B1448AB7}"/>
          </ac:spMkLst>
        </pc:spChg>
        <pc:spChg chg="mod">
          <ac:chgData name="Michael Collier" userId="c2873510-4a44-4d85-aef3-d7e8e051fe69" providerId="ADAL" clId="{CB384C6B-A00D-433E-855E-730CF8DB42CF}" dt="2018-03-08T20:54:16.014" v="2787" actId="255"/>
          <ac:spMkLst>
            <pc:docMk/>
            <pc:sldMk cId="2800481030" sldId="1663"/>
            <ac:spMk id="94" creationId="{D456B576-B45A-49CC-AEC1-691AF69CFE4C}"/>
          </ac:spMkLst>
        </pc:spChg>
        <pc:spChg chg="mod">
          <ac:chgData name="Michael Collier" userId="c2873510-4a44-4d85-aef3-d7e8e051fe69" providerId="ADAL" clId="{CB384C6B-A00D-433E-855E-730CF8DB42CF}" dt="2018-03-08T20:54:16.014" v="2787" actId="255"/>
          <ac:spMkLst>
            <pc:docMk/>
            <pc:sldMk cId="2800481030" sldId="1663"/>
            <ac:spMk id="96" creationId="{E99F5A4E-46D6-49EC-93C9-8B7DB53A0BBD}"/>
          </ac:spMkLst>
        </pc:spChg>
        <pc:spChg chg="mod">
          <ac:chgData name="Michael Collier" userId="c2873510-4a44-4d85-aef3-d7e8e051fe69" providerId="ADAL" clId="{CB384C6B-A00D-433E-855E-730CF8DB42CF}" dt="2018-03-08T20:54:16.014" v="2787" actId="255"/>
          <ac:spMkLst>
            <pc:docMk/>
            <pc:sldMk cId="2800481030" sldId="1663"/>
            <ac:spMk id="98" creationId="{53BDE090-0C44-4D7D-9776-D8FBCC3E071F}"/>
          </ac:spMkLst>
        </pc:spChg>
        <pc:spChg chg="mod">
          <ac:chgData name="Michael Collier" userId="c2873510-4a44-4d85-aef3-d7e8e051fe69" providerId="ADAL" clId="{CB384C6B-A00D-433E-855E-730CF8DB42CF}" dt="2018-03-08T20:54:16.014" v="2787" actId="255"/>
          <ac:spMkLst>
            <pc:docMk/>
            <pc:sldMk cId="2800481030" sldId="1663"/>
            <ac:spMk id="100" creationId="{43562D0A-7FAE-4729-B26C-3AEB1978496F}"/>
          </ac:spMkLst>
        </pc:spChg>
        <pc:spChg chg="mod">
          <ac:chgData name="Michael Collier" userId="c2873510-4a44-4d85-aef3-d7e8e051fe69" providerId="ADAL" clId="{CB384C6B-A00D-433E-855E-730CF8DB42CF}" dt="2018-03-08T20:54:16.014" v="2787" actId="255"/>
          <ac:spMkLst>
            <pc:docMk/>
            <pc:sldMk cId="2800481030" sldId="1663"/>
            <ac:spMk id="101" creationId="{3C3A7D97-A340-4D35-BEE4-7CF7AEFD2E12}"/>
          </ac:spMkLst>
        </pc:spChg>
        <pc:spChg chg="mod">
          <ac:chgData name="Michael Collier" userId="c2873510-4a44-4d85-aef3-d7e8e051fe69" providerId="ADAL" clId="{CB384C6B-A00D-433E-855E-730CF8DB42CF}" dt="2018-03-08T20:54:16.014" v="2787" actId="255"/>
          <ac:spMkLst>
            <pc:docMk/>
            <pc:sldMk cId="2800481030" sldId="1663"/>
            <ac:spMk id="102" creationId="{0948B6ED-23C5-4669-9D64-75F22E9070CE}"/>
          </ac:spMkLst>
        </pc:spChg>
        <pc:spChg chg="mod">
          <ac:chgData name="Michael Collier" userId="c2873510-4a44-4d85-aef3-d7e8e051fe69" providerId="ADAL" clId="{CB384C6B-A00D-433E-855E-730CF8DB42CF}" dt="2018-03-08T20:54:16.014" v="2787" actId="255"/>
          <ac:spMkLst>
            <pc:docMk/>
            <pc:sldMk cId="2800481030" sldId="1663"/>
            <ac:spMk id="103" creationId="{2337B305-18DB-4CD6-B143-26A99D5E4E59}"/>
          </ac:spMkLst>
        </pc:spChg>
        <pc:spChg chg="mod">
          <ac:chgData name="Michael Collier" userId="c2873510-4a44-4d85-aef3-d7e8e051fe69" providerId="ADAL" clId="{CB384C6B-A00D-433E-855E-730CF8DB42CF}" dt="2018-03-08T20:54:16.014" v="2787" actId="255"/>
          <ac:spMkLst>
            <pc:docMk/>
            <pc:sldMk cId="2800481030" sldId="1663"/>
            <ac:spMk id="104" creationId="{C85467E5-18DD-452F-97C3-121D1A4E0B0F}"/>
          </ac:spMkLst>
        </pc:spChg>
        <pc:spChg chg="mod">
          <ac:chgData name="Michael Collier" userId="c2873510-4a44-4d85-aef3-d7e8e051fe69" providerId="ADAL" clId="{CB384C6B-A00D-433E-855E-730CF8DB42CF}" dt="2018-03-08T20:54:16.014" v="2787" actId="255"/>
          <ac:spMkLst>
            <pc:docMk/>
            <pc:sldMk cId="2800481030" sldId="1663"/>
            <ac:spMk id="105" creationId="{37B90A10-A830-46C7-8808-70192BA1B3FD}"/>
          </ac:spMkLst>
        </pc:spChg>
        <pc:spChg chg="mod">
          <ac:chgData name="Michael Collier" userId="c2873510-4a44-4d85-aef3-d7e8e051fe69" providerId="ADAL" clId="{CB384C6B-A00D-433E-855E-730CF8DB42CF}" dt="2018-03-08T20:54:16.014" v="2787" actId="255"/>
          <ac:spMkLst>
            <pc:docMk/>
            <pc:sldMk cId="2800481030" sldId="1663"/>
            <ac:spMk id="106" creationId="{EE2D1714-63B2-4472-B994-0B53DBB66638}"/>
          </ac:spMkLst>
        </pc:spChg>
        <pc:spChg chg="mod">
          <ac:chgData name="Michael Collier" userId="c2873510-4a44-4d85-aef3-d7e8e051fe69" providerId="ADAL" clId="{CB384C6B-A00D-433E-855E-730CF8DB42CF}" dt="2018-03-08T20:54:16.014" v="2787" actId="255"/>
          <ac:spMkLst>
            <pc:docMk/>
            <pc:sldMk cId="2800481030" sldId="1663"/>
            <ac:spMk id="107" creationId="{403C09BC-AFD2-450F-B27E-40EB85561C92}"/>
          </ac:spMkLst>
        </pc:spChg>
        <pc:spChg chg="mod">
          <ac:chgData name="Michael Collier" userId="c2873510-4a44-4d85-aef3-d7e8e051fe69" providerId="ADAL" clId="{CB384C6B-A00D-433E-855E-730CF8DB42CF}" dt="2018-03-08T20:54:16.014" v="2787" actId="255"/>
          <ac:spMkLst>
            <pc:docMk/>
            <pc:sldMk cId="2800481030" sldId="1663"/>
            <ac:spMk id="108" creationId="{253344A6-03B8-4EAF-BA1F-9D833B338BD9}"/>
          </ac:spMkLst>
        </pc:spChg>
        <pc:spChg chg="mod">
          <ac:chgData name="Michael Collier" userId="c2873510-4a44-4d85-aef3-d7e8e051fe69" providerId="ADAL" clId="{CB384C6B-A00D-433E-855E-730CF8DB42CF}" dt="2018-03-08T20:54:16.014" v="2787" actId="255"/>
          <ac:spMkLst>
            <pc:docMk/>
            <pc:sldMk cId="2800481030" sldId="1663"/>
            <ac:spMk id="109" creationId="{49F47FAE-A2C6-46D8-BA81-EDBCB8FA41BC}"/>
          </ac:spMkLst>
        </pc:spChg>
        <pc:spChg chg="add del mod">
          <ac:chgData name="Michael Collier" userId="c2873510-4a44-4d85-aef3-d7e8e051fe69" providerId="ADAL" clId="{CB384C6B-A00D-433E-855E-730CF8DB42CF}" dt="2018-03-08T20:52:53" v="2772" actId="478"/>
          <ac:spMkLst>
            <pc:docMk/>
            <pc:sldMk cId="2800481030" sldId="1663"/>
            <ac:spMk id="110" creationId="{06090F72-7333-42A4-ABF2-67DF143D471C}"/>
          </ac:spMkLst>
        </pc:spChg>
        <pc:spChg chg="mod">
          <ac:chgData name="Michael Collier" userId="c2873510-4a44-4d85-aef3-d7e8e051fe69" providerId="ADAL" clId="{CB384C6B-A00D-433E-855E-730CF8DB42CF}" dt="2018-03-08T20:54:16.014" v="2787" actId="255"/>
          <ac:spMkLst>
            <pc:docMk/>
            <pc:sldMk cId="2800481030" sldId="1663"/>
            <ac:spMk id="113" creationId="{D327CD05-F6DA-4532-A999-566F4D3C6858}"/>
          </ac:spMkLst>
        </pc:spChg>
        <pc:spChg chg="mod">
          <ac:chgData name="Michael Collier" userId="c2873510-4a44-4d85-aef3-d7e8e051fe69" providerId="ADAL" clId="{CB384C6B-A00D-433E-855E-730CF8DB42CF}" dt="2018-03-08T20:54:16.014" v="2787" actId="255"/>
          <ac:spMkLst>
            <pc:docMk/>
            <pc:sldMk cId="2800481030" sldId="1663"/>
            <ac:spMk id="115" creationId="{1DDD2C8C-A6A9-4974-B07F-1BA83E1CE8E5}"/>
          </ac:spMkLst>
        </pc:spChg>
        <pc:spChg chg="mod">
          <ac:chgData name="Michael Collier" userId="c2873510-4a44-4d85-aef3-d7e8e051fe69" providerId="ADAL" clId="{CB384C6B-A00D-433E-855E-730CF8DB42CF}" dt="2018-03-08T20:54:16.014" v="2787" actId="255"/>
          <ac:spMkLst>
            <pc:docMk/>
            <pc:sldMk cId="2800481030" sldId="1663"/>
            <ac:spMk id="117" creationId="{21F10488-E243-4119-B31C-D67AA2F36837}"/>
          </ac:spMkLst>
        </pc:spChg>
        <pc:spChg chg="mod">
          <ac:chgData name="Michael Collier" userId="c2873510-4a44-4d85-aef3-d7e8e051fe69" providerId="ADAL" clId="{CB384C6B-A00D-433E-855E-730CF8DB42CF}" dt="2018-03-08T20:54:16.014" v="2787" actId="255"/>
          <ac:spMkLst>
            <pc:docMk/>
            <pc:sldMk cId="2800481030" sldId="1663"/>
            <ac:spMk id="118" creationId="{47EB0103-6F6E-44D6-921A-E5BC91BC1C60}"/>
          </ac:spMkLst>
        </pc:spChg>
        <pc:spChg chg="mod">
          <ac:chgData name="Michael Collier" userId="c2873510-4a44-4d85-aef3-d7e8e051fe69" providerId="ADAL" clId="{CB384C6B-A00D-433E-855E-730CF8DB42CF}" dt="2018-03-08T20:54:16.014" v="2787" actId="255"/>
          <ac:spMkLst>
            <pc:docMk/>
            <pc:sldMk cId="2800481030" sldId="1663"/>
            <ac:spMk id="119" creationId="{96F5D5A5-B788-44AD-89B7-A99FEDC11BE5}"/>
          </ac:spMkLst>
        </pc:spChg>
        <pc:spChg chg="mod">
          <ac:chgData name="Michael Collier" userId="c2873510-4a44-4d85-aef3-d7e8e051fe69" providerId="ADAL" clId="{CB384C6B-A00D-433E-855E-730CF8DB42CF}" dt="2018-03-08T20:54:16.014" v="2787" actId="255"/>
          <ac:spMkLst>
            <pc:docMk/>
            <pc:sldMk cId="2800481030" sldId="1663"/>
            <ac:spMk id="120" creationId="{8F61E9D1-9A32-4993-A4F7-06F5B91B1CF9}"/>
          </ac:spMkLst>
        </pc:spChg>
        <pc:spChg chg="mod">
          <ac:chgData name="Michael Collier" userId="c2873510-4a44-4d85-aef3-d7e8e051fe69" providerId="ADAL" clId="{CB384C6B-A00D-433E-855E-730CF8DB42CF}" dt="2018-03-08T20:54:16.014" v="2787" actId="255"/>
          <ac:spMkLst>
            <pc:docMk/>
            <pc:sldMk cId="2800481030" sldId="1663"/>
            <ac:spMk id="121" creationId="{11903224-F291-4B20-9062-BE116E66EBEE}"/>
          </ac:spMkLst>
        </pc:spChg>
        <pc:spChg chg="mod">
          <ac:chgData name="Michael Collier" userId="c2873510-4a44-4d85-aef3-d7e8e051fe69" providerId="ADAL" clId="{CB384C6B-A00D-433E-855E-730CF8DB42CF}" dt="2018-03-08T20:54:16.014" v="2787" actId="255"/>
          <ac:spMkLst>
            <pc:docMk/>
            <pc:sldMk cId="2800481030" sldId="1663"/>
            <ac:spMk id="122" creationId="{069876E2-166F-48F3-A314-F42A9A739576}"/>
          </ac:spMkLst>
        </pc:spChg>
        <pc:spChg chg="mod">
          <ac:chgData name="Michael Collier" userId="c2873510-4a44-4d85-aef3-d7e8e051fe69" providerId="ADAL" clId="{CB384C6B-A00D-433E-855E-730CF8DB42CF}" dt="2018-03-08T20:54:16.014" v="2787" actId="255"/>
          <ac:spMkLst>
            <pc:docMk/>
            <pc:sldMk cId="2800481030" sldId="1663"/>
            <ac:spMk id="123" creationId="{E9005DEE-165B-45F4-946F-F52C9E15AFF3}"/>
          </ac:spMkLst>
        </pc:spChg>
        <pc:spChg chg="mod">
          <ac:chgData name="Michael Collier" userId="c2873510-4a44-4d85-aef3-d7e8e051fe69" providerId="ADAL" clId="{CB384C6B-A00D-433E-855E-730CF8DB42CF}" dt="2018-03-08T20:54:16.014" v="2787" actId="255"/>
          <ac:spMkLst>
            <pc:docMk/>
            <pc:sldMk cId="2800481030" sldId="1663"/>
            <ac:spMk id="126" creationId="{158248BD-6840-4C25-B376-27DF7CA6F406}"/>
          </ac:spMkLst>
        </pc:spChg>
        <pc:spChg chg="mod">
          <ac:chgData name="Michael Collier" userId="c2873510-4a44-4d85-aef3-d7e8e051fe69" providerId="ADAL" clId="{CB384C6B-A00D-433E-855E-730CF8DB42CF}" dt="2018-03-08T20:54:16.014" v="2787" actId="255"/>
          <ac:spMkLst>
            <pc:docMk/>
            <pc:sldMk cId="2800481030" sldId="1663"/>
            <ac:spMk id="127" creationId="{6DE37FAB-20B5-434B-A997-EC98C8298ED9}"/>
          </ac:spMkLst>
        </pc:spChg>
        <pc:spChg chg="mod">
          <ac:chgData name="Michael Collier" userId="c2873510-4a44-4d85-aef3-d7e8e051fe69" providerId="ADAL" clId="{CB384C6B-A00D-433E-855E-730CF8DB42CF}" dt="2018-03-08T20:54:16.014" v="2787" actId="255"/>
          <ac:spMkLst>
            <pc:docMk/>
            <pc:sldMk cId="2800481030" sldId="1663"/>
            <ac:spMk id="128" creationId="{0485E0AE-EABA-4B6F-BE5B-CE1FEDF83B65}"/>
          </ac:spMkLst>
        </pc:spChg>
        <pc:spChg chg="mod">
          <ac:chgData name="Michael Collier" userId="c2873510-4a44-4d85-aef3-d7e8e051fe69" providerId="ADAL" clId="{CB384C6B-A00D-433E-855E-730CF8DB42CF}" dt="2018-03-08T20:54:16.014" v="2787" actId="255"/>
          <ac:spMkLst>
            <pc:docMk/>
            <pc:sldMk cId="2800481030" sldId="1663"/>
            <ac:spMk id="129" creationId="{14916460-5D4B-4DE9-802F-7A4373438751}"/>
          </ac:spMkLst>
        </pc:spChg>
        <pc:spChg chg="mod">
          <ac:chgData name="Michael Collier" userId="c2873510-4a44-4d85-aef3-d7e8e051fe69" providerId="ADAL" clId="{CB384C6B-A00D-433E-855E-730CF8DB42CF}" dt="2018-03-08T20:54:16.014" v="2787" actId="255"/>
          <ac:spMkLst>
            <pc:docMk/>
            <pc:sldMk cId="2800481030" sldId="1663"/>
            <ac:spMk id="132" creationId="{7E120A7C-A6A7-49B5-9A69-03A6E8F47348}"/>
          </ac:spMkLst>
        </pc:spChg>
        <pc:spChg chg="mod">
          <ac:chgData name="Michael Collier" userId="c2873510-4a44-4d85-aef3-d7e8e051fe69" providerId="ADAL" clId="{CB384C6B-A00D-433E-855E-730CF8DB42CF}" dt="2018-03-08T20:54:16.014" v="2787" actId="255"/>
          <ac:spMkLst>
            <pc:docMk/>
            <pc:sldMk cId="2800481030" sldId="1663"/>
            <ac:spMk id="134" creationId="{3B672C1E-DD9A-40B9-AD1C-F22056660ADE}"/>
          </ac:spMkLst>
        </pc:spChg>
        <pc:spChg chg="mod">
          <ac:chgData name="Michael Collier" userId="c2873510-4a44-4d85-aef3-d7e8e051fe69" providerId="ADAL" clId="{CB384C6B-A00D-433E-855E-730CF8DB42CF}" dt="2018-03-08T20:54:16.014" v="2787" actId="255"/>
          <ac:spMkLst>
            <pc:docMk/>
            <pc:sldMk cId="2800481030" sldId="1663"/>
            <ac:spMk id="135" creationId="{2FF2E484-828F-420A-A7D3-C7943F7AEE9B}"/>
          </ac:spMkLst>
        </pc:spChg>
        <pc:spChg chg="mod">
          <ac:chgData name="Michael Collier" userId="c2873510-4a44-4d85-aef3-d7e8e051fe69" providerId="ADAL" clId="{CB384C6B-A00D-433E-855E-730CF8DB42CF}" dt="2018-03-08T20:54:16.014" v="2787" actId="255"/>
          <ac:spMkLst>
            <pc:docMk/>
            <pc:sldMk cId="2800481030" sldId="1663"/>
            <ac:spMk id="136" creationId="{9D11CF77-80B3-4B8E-B46E-896A0FBA8A4A}"/>
          </ac:spMkLst>
        </pc:spChg>
        <pc:spChg chg="mod">
          <ac:chgData name="Michael Collier" userId="c2873510-4a44-4d85-aef3-d7e8e051fe69" providerId="ADAL" clId="{CB384C6B-A00D-433E-855E-730CF8DB42CF}" dt="2018-03-08T20:54:16.014" v="2787" actId="255"/>
          <ac:spMkLst>
            <pc:docMk/>
            <pc:sldMk cId="2800481030" sldId="1663"/>
            <ac:spMk id="137" creationId="{C7284D38-B406-4DF1-97E7-024493756CB2}"/>
          </ac:spMkLst>
        </pc:spChg>
        <pc:spChg chg="mod">
          <ac:chgData name="Michael Collier" userId="c2873510-4a44-4d85-aef3-d7e8e051fe69" providerId="ADAL" clId="{CB384C6B-A00D-433E-855E-730CF8DB42CF}" dt="2018-03-08T20:54:16.014" v="2787" actId="255"/>
          <ac:spMkLst>
            <pc:docMk/>
            <pc:sldMk cId="2800481030" sldId="1663"/>
            <ac:spMk id="138" creationId="{298A196B-8840-46DB-9E60-406F8E54A708}"/>
          </ac:spMkLst>
        </pc:spChg>
        <pc:spChg chg="mod">
          <ac:chgData name="Michael Collier" userId="c2873510-4a44-4d85-aef3-d7e8e051fe69" providerId="ADAL" clId="{CB384C6B-A00D-433E-855E-730CF8DB42CF}" dt="2018-03-08T20:54:16.014" v="2787" actId="255"/>
          <ac:spMkLst>
            <pc:docMk/>
            <pc:sldMk cId="2800481030" sldId="1663"/>
            <ac:spMk id="139" creationId="{ED6AC2BA-DA1D-481D-B4E7-EFDBF597B55F}"/>
          </ac:spMkLst>
        </pc:spChg>
        <pc:spChg chg="mod">
          <ac:chgData name="Michael Collier" userId="c2873510-4a44-4d85-aef3-d7e8e051fe69" providerId="ADAL" clId="{CB384C6B-A00D-433E-855E-730CF8DB42CF}" dt="2018-03-08T20:54:16.014" v="2787" actId="255"/>
          <ac:spMkLst>
            <pc:docMk/>
            <pc:sldMk cId="2800481030" sldId="1663"/>
            <ac:spMk id="140" creationId="{D8F91559-7278-416E-A198-42E3B773CDAB}"/>
          </ac:spMkLst>
        </pc:spChg>
        <pc:spChg chg="mod">
          <ac:chgData name="Michael Collier" userId="c2873510-4a44-4d85-aef3-d7e8e051fe69" providerId="ADAL" clId="{CB384C6B-A00D-433E-855E-730CF8DB42CF}" dt="2018-03-08T20:54:16.014" v="2787" actId="255"/>
          <ac:spMkLst>
            <pc:docMk/>
            <pc:sldMk cId="2800481030" sldId="1663"/>
            <ac:spMk id="142" creationId="{9FD7D5AE-61AF-40EE-B72E-C74178982FB4}"/>
          </ac:spMkLst>
        </pc:spChg>
        <pc:spChg chg="mod">
          <ac:chgData name="Michael Collier" userId="c2873510-4a44-4d85-aef3-d7e8e051fe69" providerId="ADAL" clId="{CB384C6B-A00D-433E-855E-730CF8DB42CF}" dt="2018-03-08T20:54:16.014" v="2787" actId="255"/>
          <ac:spMkLst>
            <pc:docMk/>
            <pc:sldMk cId="2800481030" sldId="1663"/>
            <ac:spMk id="143" creationId="{653CB8CB-B894-4130-A3A8-F0627696085E}"/>
          </ac:spMkLst>
        </pc:spChg>
        <pc:spChg chg="mod">
          <ac:chgData name="Michael Collier" userId="c2873510-4a44-4d85-aef3-d7e8e051fe69" providerId="ADAL" clId="{CB384C6B-A00D-433E-855E-730CF8DB42CF}" dt="2018-03-08T20:54:16.014" v="2787" actId="255"/>
          <ac:spMkLst>
            <pc:docMk/>
            <pc:sldMk cId="2800481030" sldId="1663"/>
            <ac:spMk id="144" creationId="{B4794FBB-56DE-4D03-98C1-842256C1A677}"/>
          </ac:spMkLst>
        </pc:spChg>
        <pc:spChg chg="mod">
          <ac:chgData name="Michael Collier" userId="c2873510-4a44-4d85-aef3-d7e8e051fe69" providerId="ADAL" clId="{CB384C6B-A00D-433E-855E-730CF8DB42CF}" dt="2018-03-08T20:54:16.014" v="2787" actId="255"/>
          <ac:spMkLst>
            <pc:docMk/>
            <pc:sldMk cId="2800481030" sldId="1663"/>
            <ac:spMk id="145" creationId="{0A7CBEA3-6C9D-4655-92BA-4227CDAA82D5}"/>
          </ac:spMkLst>
        </pc:spChg>
        <pc:spChg chg="mod">
          <ac:chgData name="Michael Collier" userId="c2873510-4a44-4d85-aef3-d7e8e051fe69" providerId="ADAL" clId="{CB384C6B-A00D-433E-855E-730CF8DB42CF}" dt="2018-03-08T20:54:16.014" v="2787" actId="255"/>
          <ac:spMkLst>
            <pc:docMk/>
            <pc:sldMk cId="2800481030" sldId="1663"/>
            <ac:spMk id="148" creationId="{B5311E3D-27A3-4207-9DA9-24EC1DE85DCE}"/>
          </ac:spMkLst>
        </pc:spChg>
        <pc:spChg chg="mod">
          <ac:chgData name="Michael Collier" userId="c2873510-4a44-4d85-aef3-d7e8e051fe69" providerId="ADAL" clId="{CB384C6B-A00D-433E-855E-730CF8DB42CF}" dt="2018-03-08T20:54:16.014" v="2787" actId="255"/>
          <ac:spMkLst>
            <pc:docMk/>
            <pc:sldMk cId="2800481030" sldId="1663"/>
            <ac:spMk id="150" creationId="{576A8630-7F2B-4010-8BAF-489A66B74159}"/>
          </ac:spMkLst>
        </pc:spChg>
        <pc:spChg chg="mod">
          <ac:chgData name="Michael Collier" userId="c2873510-4a44-4d85-aef3-d7e8e051fe69" providerId="ADAL" clId="{CB384C6B-A00D-433E-855E-730CF8DB42CF}" dt="2018-03-08T20:54:16.014" v="2787" actId="255"/>
          <ac:spMkLst>
            <pc:docMk/>
            <pc:sldMk cId="2800481030" sldId="1663"/>
            <ac:spMk id="151" creationId="{3F97A034-FD7B-4984-9844-82B515ED95C0}"/>
          </ac:spMkLst>
        </pc:spChg>
        <pc:spChg chg="mod">
          <ac:chgData name="Michael Collier" userId="c2873510-4a44-4d85-aef3-d7e8e051fe69" providerId="ADAL" clId="{CB384C6B-A00D-433E-855E-730CF8DB42CF}" dt="2018-03-08T20:54:16.014" v="2787" actId="255"/>
          <ac:spMkLst>
            <pc:docMk/>
            <pc:sldMk cId="2800481030" sldId="1663"/>
            <ac:spMk id="152" creationId="{FAF3521D-EB56-4691-ADF0-8DAF4ED09BA6}"/>
          </ac:spMkLst>
        </pc:spChg>
        <pc:spChg chg="mod">
          <ac:chgData name="Michael Collier" userId="c2873510-4a44-4d85-aef3-d7e8e051fe69" providerId="ADAL" clId="{CB384C6B-A00D-433E-855E-730CF8DB42CF}" dt="2018-03-08T20:54:16.014" v="2787" actId="255"/>
          <ac:spMkLst>
            <pc:docMk/>
            <pc:sldMk cId="2800481030" sldId="1663"/>
            <ac:spMk id="153" creationId="{DA01D396-2EF0-44A6-9CBC-9EDF6193A169}"/>
          </ac:spMkLst>
        </pc:spChg>
        <pc:spChg chg="add mod topLvl">
          <ac:chgData name="Michael Collier" userId="c2873510-4a44-4d85-aef3-d7e8e051fe69" providerId="ADAL" clId="{CB384C6B-A00D-433E-855E-730CF8DB42CF}" dt="2018-03-09T03:20:24.758" v="3882" actId="208"/>
          <ac:spMkLst>
            <pc:docMk/>
            <pc:sldMk cId="2800481030" sldId="1663"/>
            <ac:spMk id="154" creationId="{D5D1D212-6070-4500-B45C-ABBB5F377F67}"/>
          </ac:spMkLst>
        </pc:spChg>
        <pc:spChg chg="add mod topLvl">
          <ac:chgData name="Michael Collier" userId="c2873510-4a44-4d85-aef3-d7e8e051fe69" providerId="ADAL" clId="{CB384C6B-A00D-433E-855E-730CF8DB42CF}" dt="2018-03-09T03:20:24.758" v="3882" actId="208"/>
          <ac:spMkLst>
            <pc:docMk/>
            <pc:sldMk cId="2800481030" sldId="1663"/>
            <ac:spMk id="155" creationId="{18A5DE85-8D64-4ACE-AE65-166306C01601}"/>
          </ac:spMkLst>
        </pc:spChg>
        <pc:spChg chg="add mod topLvl">
          <ac:chgData name="Michael Collier" userId="c2873510-4a44-4d85-aef3-d7e8e051fe69" providerId="ADAL" clId="{CB384C6B-A00D-433E-855E-730CF8DB42CF}" dt="2018-03-09T03:20:24.758" v="3882" actId="208"/>
          <ac:spMkLst>
            <pc:docMk/>
            <pc:sldMk cId="2800481030" sldId="1663"/>
            <ac:spMk id="156" creationId="{E28BF3E4-0A37-44B0-972B-8ADCAF3CF5D8}"/>
          </ac:spMkLst>
        </pc:spChg>
        <pc:spChg chg="add mod">
          <ac:chgData name="Michael Collier" userId="c2873510-4a44-4d85-aef3-d7e8e051fe69" providerId="ADAL" clId="{CB384C6B-A00D-433E-855E-730CF8DB42CF}" dt="2018-03-09T03:20:24.758" v="3882" actId="208"/>
          <ac:spMkLst>
            <pc:docMk/>
            <pc:sldMk cId="2800481030" sldId="1663"/>
            <ac:spMk id="157" creationId="{501EEA76-7A0F-447A-A9D2-1ED517365F03}"/>
          </ac:spMkLst>
        </pc:spChg>
        <pc:grpChg chg="add del mod">
          <ac:chgData name="Michael Collier" userId="c2873510-4a44-4d85-aef3-d7e8e051fe69" providerId="ADAL" clId="{CB384C6B-A00D-433E-855E-730CF8DB42CF}" dt="2018-03-08T20:59:46.510" v="3082" actId="165"/>
          <ac:grpSpMkLst>
            <pc:docMk/>
            <pc:sldMk cId="2800481030" sldId="1663"/>
            <ac:grpSpMk id="3" creationId="{8D242B11-B6B7-49E9-87B3-3CE6AB6A18EA}"/>
          </ac:grpSpMkLst>
        </pc:grpChg>
        <pc:grpChg chg="add del mod">
          <ac:chgData name="Michael Collier" userId="c2873510-4a44-4d85-aef3-d7e8e051fe69" providerId="ADAL" clId="{CB384C6B-A00D-433E-855E-730CF8DB42CF}" dt="2018-03-08T20:59:55.981" v="3085" actId="165"/>
          <ac:grpSpMkLst>
            <pc:docMk/>
            <pc:sldMk cId="2800481030" sldId="1663"/>
            <ac:grpSpMk id="4" creationId="{0C09A881-B67A-4AB5-96A8-CA06FAC11FCC}"/>
          </ac:grpSpMkLst>
        </pc:grpChg>
        <pc:grpChg chg="add del">
          <ac:chgData name="Michael Collier" userId="c2873510-4a44-4d85-aef3-d7e8e051fe69" providerId="ADAL" clId="{CB384C6B-A00D-433E-855E-730CF8DB42CF}" dt="2018-03-08T20:52:37.535" v="2767" actId="208"/>
          <ac:grpSpMkLst>
            <pc:docMk/>
            <pc:sldMk cId="2800481030" sldId="1663"/>
            <ac:grpSpMk id="7" creationId="{073E37FB-6F69-4A2D-85BF-99B1AC79D477}"/>
          </ac:grpSpMkLst>
        </pc:grpChg>
        <pc:grpChg chg="add del">
          <ac:chgData name="Michael Collier" userId="c2873510-4a44-4d85-aef3-d7e8e051fe69" providerId="ADAL" clId="{CB384C6B-A00D-433E-855E-730CF8DB42CF}" dt="2018-03-08T20:52:37.535" v="2767" actId="208"/>
          <ac:grpSpMkLst>
            <pc:docMk/>
            <pc:sldMk cId="2800481030" sldId="1663"/>
            <ac:grpSpMk id="28" creationId="{AF7A5995-7692-407D-8BBC-6F1ABC337F1E}"/>
          </ac:grpSpMkLst>
        </pc:grpChg>
        <pc:grpChg chg="add del">
          <ac:chgData name="Michael Collier" userId="c2873510-4a44-4d85-aef3-d7e8e051fe69" providerId="ADAL" clId="{CB384C6B-A00D-433E-855E-730CF8DB42CF}" dt="2018-03-08T20:52:37.535" v="2767" actId="208"/>
          <ac:grpSpMkLst>
            <pc:docMk/>
            <pc:sldMk cId="2800481030" sldId="1663"/>
            <ac:grpSpMk id="47" creationId="{51421A9A-4BB6-4506-841E-8A5521A32446}"/>
          </ac:grpSpMkLst>
        </pc:grpChg>
        <pc:grpChg chg="add del">
          <ac:chgData name="Michael Collier" userId="c2873510-4a44-4d85-aef3-d7e8e051fe69" providerId="ADAL" clId="{CB384C6B-A00D-433E-855E-730CF8DB42CF}" dt="2018-03-08T20:52:45.314" v="2769" actId="208"/>
          <ac:grpSpMkLst>
            <pc:docMk/>
            <pc:sldMk cId="2800481030" sldId="1663"/>
            <ac:grpSpMk id="73" creationId="{A2929B23-CC73-4A7B-9AA7-2FC1E6F156CA}"/>
          </ac:grpSpMkLst>
        </pc:grpChg>
        <pc:grpChg chg="add mod topLvl">
          <ac:chgData name="Michael Collier" userId="c2873510-4a44-4d85-aef3-d7e8e051fe69" providerId="ADAL" clId="{CB384C6B-A00D-433E-855E-730CF8DB42CF}" dt="2018-03-08T20:59:46.510" v="3082" actId="165"/>
          <ac:grpSpMkLst>
            <pc:docMk/>
            <pc:sldMk cId="2800481030" sldId="1663"/>
            <ac:grpSpMk id="92" creationId="{6F7FCBD1-E792-49C9-8BF3-8A17BE6F6622}"/>
          </ac:grpSpMkLst>
        </pc:grpChg>
        <pc:grpChg chg="add mod topLvl">
          <ac:chgData name="Michael Collier" userId="c2873510-4a44-4d85-aef3-d7e8e051fe69" providerId="ADAL" clId="{CB384C6B-A00D-433E-855E-730CF8DB42CF}" dt="2018-03-08T21:00:06.716" v="3087" actId="165"/>
          <ac:grpSpMkLst>
            <pc:docMk/>
            <pc:sldMk cId="2800481030" sldId="1663"/>
            <ac:grpSpMk id="111" creationId="{73343923-6037-4D5A-8F94-FCDAC17FD3C3}"/>
          </ac:grpSpMkLst>
        </pc:grpChg>
        <pc:grpChg chg="add mod topLvl">
          <ac:chgData name="Michael Collier" userId="c2873510-4a44-4d85-aef3-d7e8e051fe69" providerId="ADAL" clId="{CB384C6B-A00D-433E-855E-730CF8DB42CF}" dt="2018-03-08T20:59:55.981" v="3085" actId="165"/>
          <ac:grpSpMkLst>
            <pc:docMk/>
            <pc:sldMk cId="2800481030" sldId="1663"/>
            <ac:grpSpMk id="130" creationId="{671B8950-F361-4D1B-8532-51F73B1698BD}"/>
          </ac:grpSpMkLst>
        </pc:grpChg>
        <pc:grpChg chg="add mod topLvl">
          <ac:chgData name="Michael Collier" userId="c2873510-4a44-4d85-aef3-d7e8e051fe69" providerId="ADAL" clId="{CB384C6B-A00D-433E-855E-730CF8DB42CF}" dt="2018-03-08T21:00:17.201" v="3089" actId="165"/>
          <ac:grpSpMkLst>
            <pc:docMk/>
            <pc:sldMk cId="2800481030" sldId="1663"/>
            <ac:grpSpMk id="147" creationId="{CFE69381-DF88-4EE9-8330-D0BCBCA8183D}"/>
          </ac:grpSpMkLst>
        </pc:grpChg>
        <pc:grpChg chg="add del mod">
          <ac:chgData name="Michael Collier" userId="c2873510-4a44-4d85-aef3-d7e8e051fe69" providerId="ADAL" clId="{CB384C6B-A00D-433E-855E-730CF8DB42CF}" dt="2018-03-08T21:00:06.716" v="3087" actId="165"/>
          <ac:grpSpMkLst>
            <pc:docMk/>
            <pc:sldMk cId="2800481030" sldId="1663"/>
            <ac:grpSpMk id="158" creationId="{5A3B35E1-73E6-46E2-8A53-BF9B8E044026}"/>
          </ac:grpSpMkLst>
        </pc:grpChg>
        <pc:grpChg chg="add del mod">
          <ac:chgData name="Michael Collier" userId="c2873510-4a44-4d85-aef3-d7e8e051fe69" providerId="ADAL" clId="{CB384C6B-A00D-433E-855E-730CF8DB42CF}" dt="2018-03-08T21:00:17.201" v="3089" actId="165"/>
          <ac:grpSpMkLst>
            <pc:docMk/>
            <pc:sldMk cId="2800481030" sldId="1663"/>
            <ac:grpSpMk id="159" creationId="{2E961087-76B5-42CD-BB92-F75C185B13DC}"/>
          </ac:grpSpMkLst>
        </pc:grpChg>
        <pc:picChg chg="add del">
          <ac:chgData name="Michael Collier" userId="c2873510-4a44-4d85-aef3-d7e8e051fe69" providerId="ADAL" clId="{CB384C6B-A00D-433E-855E-730CF8DB42CF}" dt="2018-03-08T20:52:37.535" v="2767" actId="208"/>
          <ac:picMkLst>
            <pc:docMk/>
            <pc:sldMk cId="2800481030" sldId="1663"/>
            <ac:picMk id="64" creationId="{21B68889-2E8A-4F1B-97CB-45AA50932875}"/>
          </ac:picMkLst>
        </pc:picChg>
        <pc:picChg chg="add del">
          <ac:chgData name="Michael Collier" userId="c2873510-4a44-4d85-aef3-d7e8e051fe69" providerId="ADAL" clId="{CB384C6B-A00D-433E-855E-730CF8DB42CF}" dt="2018-03-08T20:52:37.535" v="2767" actId="208"/>
          <ac:picMkLst>
            <pc:docMk/>
            <pc:sldMk cId="2800481030" sldId="1663"/>
            <ac:picMk id="67" creationId="{DD90FCF0-551E-44A2-9CBF-77212BB9F95D}"/>
          </ac:picMkLst>
        </pc:picChg>
        <pc:picChg chg="add mod">
          <ac:chgData name="Michael Collier" userId="c2873510-4a44-4d85-aef3-d7e8e051fe69" providerId="ADAL" clId="{CB384C6B-A00D-433E-855E-730CF8DB42CF}" dt="2018-03-08T20:53:39.035" v="2779" actId="14100"/>
          <ac:picMkLst>
            <pc:docMk/>
            <pc:sldMk cId="2800481030" sldId="1663"/>
            <ac:picMk id="146" creationId="{8AEF5B7F-6EFF-4564-905F-5B7CD8788EAD}"/>
          </ac:picMkLst>
        </pc:picChg>
      </pc:sldChg>
      <pc:sldChg chg="addSp modSp del modTransition">
        <pc:chgData name="Michael Collier" userId="c2873510-4a44-4d85-aef3-d7e8e051fe69" providerId="ADAL" clId="{CB384C6B-A00D-433E-855E-730CF8DB42CF}" dt="2018-03-09T02:09:42.925" v="3093" actId="2696"/>
        <pc:sldMkLst>
          <pc:docMk/>
          <pc:sldMk cId="1237326689" sldId="1664"/>
        </pc:sldMkLst>
        <pc:spChg chg="mod">
          <ac:chgData name="Michael Collier" userId="c2873510-4a44-4d85-aef3-d7e8e051fe69" providerId="ADAL" clId="{CB384C6B-A00D-433E-855E-730CF8DB42CF}" dt="2018-03-08T20:53:15.875" v="2774" actId="164"/>
          <ac:spMkLst>
            <pc:docMk/>
            <pc:sldMk cId="1237326689" sldId="1664"/>
            <ac:spMk id="41" creationId="{8DCDA653-B8FB-4707-8E57-DEBE34CDD0B6}"/>
          </ac:spMkLst>
        </pc:spChg>
        <pc:spChg chg="mod">
          <ac:chgData name="Michael Collier" userId="c2873510-4a44-4d85-aef3-d7e8e051fe69" providerId="ADAL" clId="{CB384C6B-A00D-433E-855E-730CF8DB42CF}" dt="2018-03-08T20:53:15.875" v="2774" actId="164"/>
          <ac:spMkLst>
            <pc:docMk/>
            <pc:sldMk cId="1237326689" sldId="1664"/>
            <ac:spMk id="65" creationId="{3DCE83A1-3AE8-487D-A3C1-9B40528A5CB5}"/>
          </ac:spMkLst>
        </pc:spChg>
        <pc:spChg chg="mod">
          <ac:chgData name="Michael Collier" userId="c2873510-4a44-4d85-aef3-d7e8e051fe69" providerId="ADAL" clId="{CB384C6B-A00D-433E-855E-730CF8DB42CF}" dt="2018-03-08T20:53:15.875" v="2774" actId="164"/>
          <ac:spMkLst>
            <pc:docMk/>
            <pc:sldMk cId="1237326689" sldId="1664"/>
            <ac:spMk id="66" creationId="{95E39117-16BE-46AE-8A8E-BB6ABFFC3E6A}"/>
          </ac:spMkLst>
        </pc:spChg>
        <pc:spChg chg="mod">
          <ac:chgData name="Michael Collier" userId="c2873510-4a44-4d85-aef3-d7e8e051fe69" providerId="ADAL" clId="{CB384C6B-A00D-433E-855E-730CF8DB42CF}" dt="2018-03-08T20:53:15.875" v="2774" actId="164"/>
          <ac:spMkLst>
            <pc:docMk/>
            <pc:sldMk cId="1237326689" sldId="1664"/>
            <ac:spMk id="67" creationId="{0303C0F9-774E-4C92-8AE2-DB2897990FCA}"/>
          </ac:spMkLst>
        </pc:spChg>
        <pc:spChg chg="mod">
          <ac:chgData name="Michael Collier" userId="c2873510-4a44-4d85-aef3-d7e8e051fe69" providerId="ADAL" clId="{CB384C6B-A00D-433E-855E-730CF8DB42CF}" dt="2018-03-08T20:53:15.875" v="2774" actId="164"/>
          <ac:spMkLst>
            <pc:docMk/>
            <pc:sldMk cId="1237326689" sldId="1664"/>
            <ac:spMk id="68" creationId="{70A20E7D-5B06-4980-80E9-CB7DBBDB2DBA}"/>
          </ac:spMkLst>
        </pc:spChg>
        <pc:grpChg chg="add mod">
          <ac:chgData name="Michael Collier" userId="c2873510-4a44-4d85-aef3-d7e8e051fe69" providerId="ADAL" clId="{CB384C6B-A00D-433E-855E-730CF8DB42CF}" dt="2018-03-08T20:53:15.875" v="2774" actId="164"/>
          <ac:grpSpMkLst>
            <pc:docMk/>
            <pc:sldMk cId="1237326689" sldId="1664"/>
            <ac:grpSpMk id="59" creationId="{2EB7F5E9-A672-485F-97F9-FD15B1B8A1B1}"/>
          </ac:grpSpMkLst>
        </pc:grpChg>
        <pc:picChg chg="mod">
          <ac:chgData name="Michael Collier" userId="c2873510-4a44-4d85-aef3-d7e8e051fe69" providerId="ADAL" clId="{CB384C6B-A00D-433E-855E-730CF8DB42CF}" dt="2018-03-08T20:53:15.875" v="2774" actId="164"/>
          <ac:picMkLst>
            <pc:docMk/>
            <pc:sldMk cId="1237326689" sldId="1664"/>
            <ac:picMk id="64" creationId="{60A439B9-6C60-4CE8-9342-6AE158E64AA8}"/>
          </ac:picMkLst>
        </pc:picChg>
      </pc:sldChg>
      <pc:sldChg chg="ord">
        <pc:chgData name="Michael Collier" userId="c2873510-4a44-4d85-aef3-d7e8e051fe69" providerId="ADAL" clId="{CB384C6B-A00D-433E-855E-730CF8DB42CF}" dt="2018-03-09T03:51:48.253" v="4065"/>
        <pc:sldMkLst>
          <pc:docMk/>
          <pc:sldMk cId="3417589083" sldId="1664"/>
        </pc:sldMkLst>
      </pc:sldChg>
      <pc:sldChg chg="del">
        <pc:chgData name="Michael Collier" userId="c2873510-4a44-4d85-aef3-d7e8e051fe69" providerId="ADAL" clId="{CB384C6B-A00D-433E-855E-730CF8DB42CF}" dt="2018-03-09T02:41:11.699" v="3424" actId="2696"/>
        <pc:sldMkLst>
          <pc:docMk/>
          <pc:sldMk cId="1292860948" sldId="1667"/>
        </pc:sldMkLst>
      </pc:sldChg>
      <pc:sldChg chg="addSp delSp modSp add del modTransition">
        <pc:chgData name="Michael Collier" userId="c2873510-4a44-4d85-aef3-d7e8e051fe69" providerId="ADAL" clId="{CB384C6B-A00D-433E-855E-730CF8DB42CF}" dt="2018-03-09T03:02:47.738" v="3657" actId="2696"/>
        <pc:sldMkLst>
          <pc:docMk/>
          <pc:sldMk cId="3003069250" sldId="1668"/>
        </pc:sldMkLst>
        <pc:spChg chg="del">
          <ac:chgData name="Michael Collier" userId="c2873510-4a44-4d85-aef3-d7e8e051fe69" providerId="ADAL" clId="{CB384C6B-A00D-433E-855E-730CF8DB42CF}" dt="2018-03-08T19:29:16.409" v="1619" actId="2696"/>
          <ac:spMkLst>
            <pc:docMk/>
            <pc:sldMk cId="3003069250" sldId="1668"/>
            <ac:spMk id="2" creationId="{3643A329-D7DC-4548-874D-F9142E104D5F}"/>
          </ac:spMkLst>
        </pc:spChg>
        <pc:spChg chg="add del mod">
          <ac:chgData name="Michael Collier" userId="c2873510-4a44-4d85-aef3-d7e8e051fe69" providerId="ADAL" clId="{CB384C6B-A00D-433E-855E-730CF8DB42CF}" dt="2018-03-08T19:29:23.857" v="1620" actId="2696"/>
          <ac:spMkLst>
            <pc:docMk/>
            <pc:sldMk cId="3003069250" sldId="1668"/>
            <ac:spMk id="3" creationId="{08DDC970-80FF-41E1-8A4D-EBDA322DE1AC}"/>
          </ac:spMkLst>
        </pc:spChg>
        <pc:spChg chg="add mod">
          <ac:chgData name="Michael Collier" userId="c2873510-4a44-4d85-aef3-d7e8e051fe69" providerId="ADAL" clId="{CB384C6B-A00D-433E-855E-730CF8DB42CF}" dt="2018-03-08T19:29:49.482" v="1700" actId="20577"/>
          <ac:spMkLst>
            <pc:docMk/>
            <pc:sldMk cId="3003069250" sldId="1668"/>
            <ac:spMk id="4" creationId="{9D420BC2-302A-4665-8C8B-DE0BE9A0D41C}"/>
          </ac:spMkLst>
        </pc:spChg>
        <pc:picChg chg="add mod">
          <ac:chgData name="Michael Collier" userId="c2873510-4a44-4d85-aef3-d7e8e051fe69" providerId="ADAL" clId="{CB384C6B-A00D-433E-855E-730CF8DB42CF}" dt="2018-03-08T19:31:48.670" v="1703" actId="1076"/>
          <ac:picMkLst>
            <pc:docMk/>
            <pc:sldMk cId="3003069250" sldId="1668"/>
            <ac:picMk id="2050" creationId="{2D6B49F3-FA1B-47C0-A705-01D0A3340199}"/>
          </ac:picMkLst>
        </pc:picChg>
      </pc:sldChg>
      <pc:sldChg chg="ord">
        <pc:chgData name="Michael Collier" userId="c2873510-4a44-4d85-aef3-d7e8e051fe69" providerId="ADAL" clId="{CB384C6B-A00D-433E-855E-730CF8DB42CF}" dt="2018-03-09T03:51:48.253" v="4065"/>
        <pc:sldMkLst>
          <pc:docMk/>
          <pc:sldMk cId="3857548722" sldId="1668"/>
        </pc:sldMkLst>
      </pc:sldChg>
      <pc:sldChg chg="addSp delSp modSp add del modTransition">
        <pc:chgData name="Michael Collier" userId="c2873510-4a44-4d85-aef3-d7e8e051fe69" providerId="ADAL" clId="{CB384C6B-A00D-433E-855E-730CF8DB42CF}" dt="2018-03-08T19:44:47.350" v="1892" actId="2696"/>
        <pc:sldMkLst>
          <pc:docMk/>
          <pc:sldMk cId="1835231458" sldId="1669"/>
        </pc:sldMkLst>
        <pc:spChg chg="del">
          <ac:chgData name="Michael Collier" userId="c2873510-4a44-4d85-aef3-d7e8e051fe69" providerId="ADAL" clId="{CB384C6B-A00D-433E-855E-730CF8DB42CF}" dt="2018-03-08T19:34:11.455" v="1708" actId="2696"/>
          <ac:spMkLst>
            <pc:docMk/>
            <pc:sldMk cId="1835231458" sldId="1669"/>
            <ac:spMk id="2" creationId="{71A732A0-F146-4930-9DCF-EB19B2C30930}"/>
          </ac:spMkLst>
        </pc:spChg>
        <pc:spChg chg="del">
          <ac:chgData name="Michael Collier" userId="c2873510-4a44-4d85-aef3-d7e8e051fe69" providerId="ADAL" clId="{CB384C6B-A00D-433E-855E-730CF8DB42CF}" dt="2018-03-08T19:34:11.455" v="1708" actId="2696"/>
          <ac:spMkLst>
            <pc:docMk/>
            <pc:sldMk cId="1835231458" sldId="1669"/>
            <ac:spMk id="3" creationId="{30041BCF-6810-4E1C-B0FD-348085F85195}"/>
          </ac:spMkLst>
        </pc:spChg>
        <pc:spChg chg="add mod">
          <ac:chgData name="Michael Collier" userId="c2873510-4a44-4d85-aef3-d7e8e051fe69" providerId="ADAL" clId="{CB384C6B-A00D-433E-855E-730CF8DB42CF}" dt="2018-03-08T19:43:27.131" v="1884" actId="164"/>
          <ac:spMkLst>
            <pc:docMk/>
            <pc:sldMk cId="1835231458" sldId="1669"/>
            <ac:spMk id="16" creationId="{45A4DEF9-E3E6-455E-B549-1D721FD45951}"/>
          </ac:spMkLst>
        </pc:spChg>
        <pc:spChg chg="add mod">
          <ac:chgData name="Michael Collier" userId="c2873510-4a44-4d85-aef3-d7e8e051fe69" providerId="ADAL" clId="{CB384C6B-A00D-433E-855E-730CF8DB42CF}" dt="2018-03-08T19:43:27.131" v="1884" actId="164"/>
          <ac:spMkLst>
            <pc:docMk/>
            <pc:sldMk cId="1835231458" sldId="1669"/>
            <ac:spMk id="46" creationId="{B58EB29A-A815-4065-ABC0-323BC80EB271}"/>
          </ac:spMkLst>
        </pc:spChg>
        <pc:spChg chg="add mod">
          <ac:chgData name="Michael Collier" userId="c2873510-4a44-4d85-aef3-d7e8e051fe69" providerId="ADAL" clId="{CB384C6B-A00D-433E-855E-730CF8DB42CF}" dt="2018-03-08T19:43:27.131" v="1884" actId="164"/>
          <ac:spMkLst>
            <pc:docMk/>
            <pc:sldMk cId="1835231458" sldId="1669"/>
            <ac:spMk id="47" creationId="{84A7D174-EF18-42C2-9770-CAF85DFC2BBD}"/>
          </ac:spMkLst>
        </pc:spChg>
        <pc:spChg chg="add mod">
          <ac:chgData name="Michael Collier" userId="c2873510-4a44-4d85-aef3-d7e8e051fe69" providerId="ADAL" clId="{CB384C6B-A00D-433E-855E-730CF8DB42CF}" dt="2018-03-08T19:43:27.131" v="1884" actId="164"/>
          <ac:spMkLst>
            <pc:docMk/>
            <pc:sldMk cId="1835231458" sldId="1669"/>
            <ac:spMk id="52" creationId="{6714D048-9C49-45F9-9C23-0F860D465541}"/>
          </ac:spMkLst>
        </pc:spChg>
        <pc:spChg chg="add mod">
          <ac:chgData name="Michael Collier" userId="c2873510-4a44-4d85-aef3-d7e8e051fe69" providerId="ADAL" clId="{CB384C6B-A00D-433E-855E-730CF8DB42CF}" dt="2018-03-08T19:43:27.131" v="1884" actId="164"/>
          <ac:spMkLst>
            <pc:docMk/>
            <pc:sldMk cId="1835231458" sldId="1669"/>
            <ac:spMk id="54" creationId="{715DC510-9A0A-47B2-A79D-09C19C9ED592}"/>
          </ac:spMkLst>
        </pc:spChg>
        <pc:grpChg chg="add mod">
          <ac:chgData name="Michael Collier" userId="c2873510-4a44-4d85-aef3-d7e8e051fe69" providerId="ADAL" clId="{CB384C6B-A00D-433E-855E-730CF8DB42CF}" dt="2018-03-08T19:43:27.131" v="1884" actId="164"/>
          <ac:grpSpMkLst>
            <pc:docMk/>
            <pc:sldMk cId="1835231458" sldId="1669"/>
            <ac:grpSpMk id="55" creationId="{B2261273-DF07-4DC1-9A70-CDCEEE3E9EF0}"/>
          </ac:grpSpMkLst>
        </pc:grpChg>
        <pc:picChg chg="add mod">
          <ac:chgData name="Michael Collier" userId="c2873510-4a44-4d85-aef3-d7e8e051fe69" providerId="ADAL" clId="{CB384C6B-A00D-433E-855E-730CF8DB42CF}" dt="2018-03-08T19:43:27.131" v="1884" actId="164"/>
          <ac:picMkLst>
            <pc:docMk/>
            <pc:sldMk cId="1835231458" sldId="1669"/>
            <ac:picMk id="5" creationId="{C6FD408B-9C32-4F7E-BDBD-23FC50B58C23}"/>
          </ac:picMkLst>
        </pc:picChg>
        <pc:picChg chg="add mod">
          <ac:chgData name="Michael Collier" userId="c2873510-4a44-4d85-aef3-d7e8e051fe69" providerId="ADAL" clId="{CB384C6B-A00D-433E-855E-730CF8DB42CF}" dt="2018-03-08T19:43:27.131" v="1884" actId="164"/>
          <ac:picMkLst>
            <pc:docMk/>
            <pc:sldMk cId="1835231458" sldId="1669"/>
            <ac:picMk id="7" creationId="{6D899113-2B9B-406F-9453-9EF4A274D4D0}"/>
          </ac:picMkLst>
        </pc:picChg>
        <pc:picChg chg="add mod">
          <ac:chgData name="Michael Collier" userId="c2873510-4a44-4d85-aef3-d7e8e051fe69" providerId="ADAL" clId="{CB384C6B-A00D-433E-855E-730CF8DB42CF}" dt="2018-03-08T19:43:27.131" v="1884" actId="164"/>
          <ac:picMkLst>
            <pc:docMk/>
            <pc:sldMk cId="1835231458" sldId="1669"/>
            <ac:picMk id="12" creationId="{AF7FC5A4-EE4C-4343-90B0-8142DC6AB63B}"/>
          </ac:picMkLst>
        </pc:picChg>
        <pc:picChg chg="add mod">
          <ac:chgData name="Michael Collier" userId="c2873510-4a44-4d85-aef3-d7e8e051fe69" providerId="ADAL" clId="{CB384C6B-A00D-433E-855E-730CF8DB42CF}" dt="2018-03-08T19:43:27.131" v="1884" actId="164"/>
          <ac:picMkLst>
            <pc:docMk/>
            <pc:sldMk cId="1835231458" sldId="1669"/>
            <ac:picMk id="18" creationId="{475B05EB-D436-47C0-A5AB-52FA600DDEFB}"/>
          </ac:picMkLst>
        </pc:picChg>
        <pc:picChg chg="add mod">
          <ac:chgData name="Michael Collier" userId="c2873510-4a44-4d85-aef3-d7e8e051fe69" providerId="ADAL" clId="{CB384C6B-A00D-433E-855E-730CF8DB42CF}" dt="2018-03-08T19:43:27.131" v="1884" actId="164"/>
          <ac:picMkLst>
            <pc:docMk/>
            <pc:sldMk cId="1835231458" sldId="1669"/>
            <ac:picMk id="24" creationId="{27062380-59DE-42C8-A18C-897182DE5657}"/>
          </ac:picMkLst>
        </pc:picChg>
        <pc:picChg chg="add mod">
          <ac:chgData name="Michael Collier" userId="c2873510-4a44-4d85-aef3-d7e8e051fe69" providerId="ADAL" clId="{CB384C6B-A00D-433E-855E-730CF8DB42CF}" dt="2018-03-08T19:43:27.131" v="1884" actId="164"/>
          <ac:picMkLst>
            <pc:docMk/>
            <pc:sldMk cId="1835231458" sldId="1669"/>
            <ac:picMk id="26" creationId="{5429D827-8896-4602-A46A-48C22A2F19F2}"/>
          </ac:picMkLst>
        </pc:picChg>
        <pc:cxnChg chg="add mod">
          <ac:chgData name="Michael Collier" userId="c2873510-4a44-4d85-aef3-d7e8e051fe69" providerId="ADAL" clId="{CB384C6B-A00D-433E-855E-730CF8DB42CF}" dt="2018-03-08T19:43:27.131" v="1884" actId="164"/>
          <ac:cxnSpMkLst>
            <pc:docMk/>
            <pc:sldMk cId="1835231458" sldId="1669"/>
            <ac:cxnSpMk id="9" creationId="{2981B72B-CDC3-4BA0-A55D-DC2C3EA79134}"/>
          </ac:cxnSpMkLst>
        </pc:cxnChg>
        <pc:cxnChg chg="add mod">
          <ac:chgData name="Michael Collier" userId="c2873510-4a44-4d85-aef3-d7e8e051fe69" providerId="ADAL" clId="{CB384C6B-A00D-433E-855E-730CF8DB42CF}" dt="2018-03-08T19:43:27.131" v="1884" actId="164"/>
          <ac:cxnSpMkLst>
            <pc:docMk/>
            <pc:sldMk cId="1835231458" sldId="1669"/>
            <ac:cxnSpMk id="14" creationId="{F697F668-7F65-4F6C-8273-F3E90D61303B}"/>
          </ac:cxnSpMkLst>
        </pc:cxnChg>
        <pc:cxnChg chg="add mod">
          <ac:chgData name="Michael Collier" userId="c2873510-4a44-4d85-aef3-d7e8e051fe69" providerId="ADAL" clId="{CB384C6B-A00D-433E-855E-730CF8DB42CF}" dt="2018-03-08T19:43:27.131" v="1884" actId="164"/>
          <ac:cxnSpMkLst>
            <pc:docMk/>
            <pc:sldMk cId="1835231458" sldId="1669"/>
            <ac:cxnSpMk id="20" creationId="{A5BE8272-1E4A-4D72-BEC2-566AC33A6D60}"/>
          </ac:cxnSpMkLst>
        </pc:cxnChg>
        <pc:cxnChg chg="add mod">
          <ac:chgData name="Michael Collier" userId="c2873510-4a44-4d85-aef3-d7e8e051fe69" providerId="ADAL" clId="{CB384C6B-A00D-433E-855E-730CF8DB42CF}" dt="2018-03-08T19:43:27.131" v="1884" actId="164"/>
          <ac:cxnSpMkLst>
            <pc:docMk/>
            <pc:sldMk cId="1835231458" sldId="1669"/>
            <ac:cxnSpMk id="28" creationId="{344716C5-EC82-4F4D-B6E3-1D0D239C1A39}"/>
          </ac:cxnSpMkLst>
        </pc:cxnChg>
        <pc:cxnChg chg="add mod">
          <ac:chgData name="Michael Collier" userId="c2873510-4a44-4d85-aef3-d7e8e051fe69" providerId="ADAL" clId="{CB384C6B-A00D-433E-855E-730CF8DB42CF}" dt="2018-03-08T19:43:27.131" v="1884" actId="164"/>
          <ac:cxnSpMkLst>
            <pc:docMk/>
            <pc:sldMk cId="1835231458" sldId="1669"/>
            <ac:cxnSpMk id="30" creationId="{379F75B8-DBCE-41D3-890E-85AE7D3420AE}"/>
          </ac:cxnSpMkLst>
        </pc:cxnChg>
      </pc:sldChg>
      <pc:sldChg chg="add">
        <pc:chgData name="Michael Collier" userId="c2873510-4a44-4d85-aef3-d7e8e051fe69" providerId="ADAL" clId="{CB384C6B-A00D-433E-855E-730CF8DB42CF}" dt="2018-03-08T19:44:53.859" v="1894" actId="20577"/>
        <pc:sldMkLst>
          <pc:docMk/>
          <pc:sldMk cId="4084188665" sldId="1669"/>
        </pc:sldMkLst>
      </pc:sldChg>
      <pc:sldChg chg="add del">
        <pc:chgData name="Michael Collier" userId="c2873510-4a44-4d85-aef3-d7e8e051fe69" providerId="ADAL" clId="{CB384C6B-A00D-433E-855E-730CF8DB42CF}" dt="2018-03-09T02:21:52.604" v="3179" actId="2696"/>
        <pc:sldMkLst>
          <pc:docMk/>
          <pc:sldMk cId="2570295458" sldId="1670"/>
        </pc:sldMkLst>
      </pc:sldChg>
      <pc:sldChg chg="modNotesTx">
        <pc:chgData name="Michael Collier" userId="c2873510-4a44-4d85-aef3-d7e8e051fe69" providerId="ADAL" clId="{CB384C6B-A00D-433E-855E-730CF8DB42CF}" dt="2018-03-09T03:22:24.498" v="3883" actId="20577"/>
        <pc:sldMkLst>
          <pc:docMk/>
          <pc:sldMk cId="3763325844" sldId="1670"/>
        </pc:sldMkLst>
      </pc:sldChg>
      <pc:sldChg chg="ord">
        <pc:chgData name="Michael Collier" userId="c2873510-4a44-4d85-aef3-d7e8e051fe69" providerId="ADAL" clId="{CB384C6B-A00D-433E-855E-730CF8DB42CF}" dt="2018-03-09T03:46:05.629" v="4045" actId="20577"/>
        <pc:sldMkLst>
          <pc:docMk/>
          <pc:sldMk cId="677612115" sldId="1671"/>
        </pc:sldMkLst>
      </pc:sldChg>
      <pc:sldChg chg="del modTransition">
        <pc:chgData name="Michael Collier" userId="c2873510-4a44-4d85-aef3-d7e8e051fe69" providerId="ADAL" clId="{CB384C6B-A00D-433E-855E-730CF8DB42CF}" dt="2018-03-09T03:49:28.898" v="4054" actId="2696"/>
        <pc:sldMkLst>
          <pc:docMk/>
          <pc:sldMk cId="650468403" sldId="1672"/>
        </pc:sldMkLst>
      </pc:sldChg>
      <pc:sldChg chg="del">
        <pc:chgData name="Michael Collier" userId="c2873510-4a44-4d85-aef3-d7e8e051fe69" providerId="ADAL" clId="{CB384C6B-A00D-433E-855E-730CF8DB42CF}" dt="2018-03-09T03:49:52.145" v="4055" actId="2696"/>
        <pc:sldMkLst>
          <pc:docMk/>
          <pc:sldMk cId="3775979395" sldId="1672"/>
        </pc:sldMkLst>
      </pc:sldChg>
      <pc:sldChg chg="del">
        <pc:chgData name="Michael Collier" userId="c2873510-4a44-4d85-aef3-d7e8e051fe69" providerId="ADAL" clId="{CB384C6B-A00D-433E-855E-730CF8DB42CF}" dt="2018-03-09T03:49:52.223" v="4056" actId="2696"/>
        <pc:sldMkLst>
          <pc:docMk/>
          <pc:sldMk cId="1114814863" sldId="1673"/>
        </pc:sldMkLst>
      </pc:sldChg>
      <pc:sldChg chg="del modTransition">
        <pc:chgData name="Michael Collier" userId="c2873510-4a44-4d85-aef3-d7e8e051fe69" providerId="ADAL" clId="{CB384C6B-A00D-433E-855E-730CF8DB42CF}" dt="2018-03-09T03:49:28.892" v="4053" actId="2696"/>
        <pc:sldMkLst>
          <pc:docMk/>
          <pc:sldMk cId="2908139810" sldId="1673"/>
        </pc:sldMkLst>
      </pc:sldChg>
      <pc:sldChg chg="add ord">
        <pc:chgData name="Michael Collier" userId="c2873510-4a44-4d85-aef3-d7e8e051fe69" providerId="ADAL" clId="{CB384C6B-A00D-433E-855E-730CF8DB42CF}" dt="2018-03-09T03:51:48.253" v="4065"/>
        <pc:sldMkLst>
          <pc:docMk/>
          <pc:sldMk cId="558127559" sldId="1674"/>
        </pc:sldMkLst>
      </pc:sldChg>
      <pc:sldMasterChg chg="delSldLayout modSldLayout">
        <pc:chgData name="Michael Collier" userId="c2873510-4a44-4d85-aef3-d7e8e051fe69" providerId="ADAL" clId="{CB384C6B-A00D-433E-855E-730CF8DB42CF}" dt="2018-03-08T19:44:47.352" v="1893" actId="2696"/>
        <pc:sldMasterMkLst>
          <pc:docMk/>
          <pc:sldMasterMk cId="928349212" sldId="2147483680"/>
        </pc:sldMasterMkLst>
        <pc:sldLayoutChg chg="del">
          <pc:chgData name="Michael Collier" userId="c2873510-4a44-4d85-aef3-d7e8e051fe69" providerId="ADAL" clId="{CB384C6B-A00D-433E-855E-730CF8DB42CF}" dt="2018-03-08T19:44:47.352" v="1893" actId="2696"/>
          <pc:sldLayoutMkLst>
            <pc:docMk/>
            <pc:sldMasterMk cId="928349212" sldId="2147483680"/>
            <pc:sldLayoutMk cId="633337200" sldId="2147483703"/>
          </pc:sldLayoutMkLst>
        </pc:sldLayoutChg>
      </pc:sldMasterChg>
      <pc:sldMasterChg chg="del delSldLayout">
        <pc:chgData name="Michael Collier" userId="c2873510-4a44-4d85-aef3-d7e8e051fe69" providerId="ADAL" clId="{CB384C6B-A00D-433E-855E-730CF8DB42CF}" dt="2018-03-09T02:13:37.853" v="3160" actId="2696"/>
        <pc:sldMasterMkLst>
          <pc:docMk/>
          <pc:sldMasterMk cId="271522072" sldId="2147483809"/>
        </pc:sldMasterMkLst>
        <pc:sldLayoutChg chg="del">
          <pc:chgData name="Michael Collier" userId="c2873510-4a44-4d85-aef3-d7e8e051fe69" providerId="ADAL" clId="{CB384C6B-A00D-433E-855E-730CF8DB42CF}" dt="2018-03-09T02:13:36.351" v="3134" actId="2696"/>
          <pc:sldLayoutMkLst>
            <pc:docMk/>
            <pc:sldMasterMk cId="271522072" sldId="2147483809"/>
            <pc:sldLayoutMk cId="376137286" sldId="2147483810"/>
          </pc:sldLayoutMkLst>
        </pc:sldLayoutChg>
        <pc:sldLayoutChg chg="del">
          <pc:chgData name="Michael Collier" userId="c2873510-4a44-4d85-aef3-d7e8e051fe69" providerId="ADAL" clId="{CB384C6B-A00D-433E-855E-730CF8DB42CF}" dt="2018-03-09T02:13:36.400" v="3135" actId="2696"/>
          <pc:sldLayoutMkLst>
            <pc:docMk/>
            <pc:sldMasterMk cId="271522072" sldId="2147483809"/>
            <pc:sldLayoutMk cId="1514718747" sldId="2147483811"/>
          </pc:sldLayoutMkLst>
        </pc:sldLayoutChg>
        <pc:sldLayoutChg chg="del">
          <pc:chgData name="Michael Collier" userId="c2873510-4a44-4d85-aef3-d7e8e051fe69" providerId="ADAL" clId="{CB384C6B-A00D-433E-855E-730CF8DB42CF}" dt="2018-03-09T02:13:36.520" v="3136" actId="2696"/>
          <pc:sldLayoutMkLst>
            <pc:docMk/>
            <pc:sldMasterMk cId="271522072" sldId="2147483809"/>
            <pc:sldLayoutMk cId="1644847442" sldId="2147483812"/>
          </pc:sldLayoutMkLst>
        </pc:sldLayoutChg>
        <pc:sldLayoutChg chg="del">
          <pc:chgData name="Michael Collier" userId="c2873510-4a44-4d85-aef3-d7e8e051fe69" providerId="ADAL" clId="{CB384C6B-A00D-433E-855E-730CF8DB42CF}" dt="2018-03-09T02:13:36.576" v="3137" actId="2696"/>
          <pc:sldLayoutMkLst>
            <pc:docMk/>
            <pc:sldMasterMk cId="271522072" sldId="2147483809"/>
            <pc:sldLayoutMk cId="2251389708" sldId="2147483813"/>
          </pc:sldLayoutMkLst>
        </pc:sldLayoutChg>
        <pc:sldLayoutChg chg="del">
          <pc:chgData name="Michael Collier" userId="c2873510-4a44-4d85-aef3-d7e8e051fe69" providerId="ADAL" clId="{CB384C6B-A00D-433E-855E-730CF8DB42CF}" dt="2018-03-09T02:13:36.652" v="3138" actId="2696"/>
          <pc:sldLayoutMkLst>
            <pc:docMk/>
            <pc:sldMasterMk cId="271522072" sldId="2147483809"/>
            <pc:sldLayoutMk cId="3396014955" sldId="2147483814"/>
          </pc:sldLayoutMkLst>
        </pc:sldLayoutChg>
        <pc:sldLayoutChg chg="del">
          <pc:chgData name="Michael Collier" userId="c2873510-4a44-4d85-aef3-d7e8e051fe69" providerId="ADAL" clId="{CB384C6B-A00D-433E-855E-730CF8DB42CF}" dt="2018-03-09T02:13:36.688" v="3139" actId="2696"/>
          <pc:sldLayoutMkLst>
            <pc:docMk/>
            <pc:sldMasterMk cId="271522072" sldId="2147483809"/>
            <pc:sldLayoutMk cId="1316787735" sldId="2147483815"/>
          </pc:sldLayoutMkLst>
        </pc:sldLayoutChg>
        <pc:sldLayoutChg chg="del">
          <pc:chgData name="Michael Collier" userId="c2873510-4a44-4d85-aef3-d7e8e051fe69" providerId="ADAL" clId="{CB384C6B-A00D-433E-855E-730CF8DB42CF}" dt="2018-03-09T02:13:36.756" v="3140" actId="2696"/>
          <pc:sldLayoutMkLst>
            <pc:docMk/>
            <pc:sldMasterMk cId="271522072" sldId="2147483809"/>
            <pc:sldLayoutMk cId="662477407" sldId="2147483816"/>
          </pc:sldLayoutMkLst>
        </pc:sldLayoutChg>
        <pc:sldLayoutChg chg="del">
          <pc:chgData name="Michael Collier" userId="c2873510-4a44-4d85-aef3-d7e8e051fe69" providerId="ADAL" clId="{CB384C6B-A00D-433E-855E-730CF8DB42CF}" dt="2018-03-09T02:13:36.794" v="3141" actId="2696"/>
          <pc:sldLayoutMkLst>
            <pc:docMk/>
            <pc:sldMasterMk cId="271522072" sldId="2147483809"/>
            <pc:sldLayoutMk cId="1783336511" sldId="2147483817"/>
          </pc:sldLayoutMkLst>
        </pc:sldLayoutChg>
        <pc:sldLayoutChg chg="del">
          <pc:chgData name="Michael Collier" userId="c2873510-4a44-4d85-aef3-d7e8e051fe69" providerId="ADAL" clId="{CB384C6B-A00D-433E-855E-730CF8DB42CF}" dt="2018-03-09T02:13:36.877" v="3142" actId="2696"/>
          <pc:sldLayoutMkLst>
            <pc:docMk/>
            <pc:sldMasterMk cId="271522072" sldId="2147483809"/>
            <pc:sldLayoutMk cId="890466008" sldId="2147483818"/>
          </pc:sldLayoutMkLst>
        </pc:sldLayoutChg>
        <pc:sldLayoutChg chg="del">
          <pc:chgData name="Michael Collier" userId="c2873510-4a44-4d85-aef3-d7e8e051fe69" providerId="ADAL" clId="{CB384C6B-A00D-433E-855E-730CF8DB42CF}" dt="2018-03-09T02:13:36.919" v="3143" actId="2696"/>
          <pc:sldLayoutMkLst>
            <pc:docMk/>
            <pc:sldMasterMk cId="271522072" sldId="2147483809"/>
            <pc:sldLayoutMk cId="2356351511" sldId="2147483819"/>
          </pc:sldLayoutMkLst>
        </pc:sldLayoutChg>
        <pc:sldLayoutChg chg="del">
          <pc:chgData name="Michael Collier" userId="c2873510-4a44-4d85-aef3-d7e8e051fe69" providerId="ADAL" clId="{CB384C6B-A00D-433E-855E-730CF8DB42CF}" dt="2018-03-09T02:13:36.981" v="3144" actId="2696"/>
          <pc:sldLayoutMkLst>
            <pc:docMk/>
            <pc:sldMasterMk cId="271522072" sldId="2147483809"/>
            <pc:sldLayoutMk cId="2979690513" sldId="2147483820"/>
          </pc:sldLayoutMkLst>
        </pc:sldLayoutChg>
        <pc:sldLayoutChg chg="del">
          <pc:chgData name="Michael Collier" userId="c2873510-4a44-4d85-aef3-d7e8e051fe69" providerId="ADAL" clId="{CB384C6B-A00D-433E-855E-730CF8DB42CF}" dt="2018-03-09T02:13:37.016" v="3145" actId="2696"/>
          <pc:sldLayoutMkLst>
            <pc:docMk/>
            <pc:sldMasterMk cId="271522072" sldId="2147483809"/>
            <pc:sldLayoutMk cId="519240191" sldId="2147483821"/>
          </pc:sldLayoutMkLst>
        </pc:sldLayoutChg>
        <pc:sldLayoutChg chg="del">
          <pc:chgData name="Michael Collier" userId="c2873510-4a44-4d85-aef3-d7e8e051fe69" providerId="ADAL" clId="{CB384C6B-A00D-433E-855E-730CF8DB42CF}" dt="2018-03-09T02:13:37.088" v="3146" actId="2696"/>
          <pc:sldLayoutMkLst>
            <pc:docMk/>
            <pc:sldMasterMk cId="271522072" sldId="2147483809"/>
            <pc:sldLayoutMk cId="1301739650" sldId="2147483822"/>
          </pc:sldLayoutMkLst>
        </pc:sldLayoutChg>
        <pc:sldLayoutChg chg="del">
          <pc:chgData name="Michael Collier" userId="c2873510-4a44-4d85-aef3-d7e8e051fe69" providerId="ADAL" clId="{CB384C6B-A00D-433E-855E-730CF8DB42CF}" dt="2018-03-09T02:13:37.146" v="3147" actId="2696"/>
          <pc:sldLayoutMkLst>
            <pc:docMk/>
            <pc:sldMasterMk cId="271522072" sldId="2147483809"/>
            <pc:sldLayoutMk cId="2509944104" sldId="2147483823"/>
          </pc:sldLayoutMkLst>
        </pc:sldLayoutChg>
        <pc:sldLayoutChg chg="del">
          <pc:chgData name="Michael Collier" userId="c2873510-4a44-4d85-aef3-d7e8e051fe69" providerId="ADAL" clId="{CB384C6B-A00D-433E-855E-730CF8DB42CF}" dt="2018-03-09T02:13:37.224" v="3148" actId="2696"/>
          <pc:sldLayoutMkLst>
            <pc:docMk/>
            <pc:sldMasterMk cId="271522072" sldId="2147483809"/>
            <pc:sldLayoutMk cId="4113942837" sldId="2147483824"/>
          </pc:sldLayoutMkLst>
        </pc:sldLayoutChg>
        <pc:sldLayoutChg chg="del">
          <pc:chgData name="Michael Collier" userId="c2873510-4a44-4d85-aef3-d7e8e051fe69" providerId="ADAL" clId="{CB384C6B-A00D-433E-855E-730CF8DB42CF}" dt="2018-03-09T02:13:37.270" v="3149" actId="2696"/>
          <pc:sldLayoutMkLst>
            <pc:docMk/>
            <pc:sldMasterMk cId="271522072" sldId="2147483809"/>
            <pc:sldLayoutMk cId="3915921185" sldId="2147483825"/>
          </pc:sldLayoutMkLst>
        </pc:sldLayoutChg>
        <pc:sldLayoutChg chg="del">
          <pc:chgData name="Michael Collier" userId="c2873510-4a44-4d85-aef3-d7e8e051fe69" providerId="ADAL" clId="{CB384C6B-A00D-433E-855E-730CF8DB42CF}" dt="2018-03-09T02:13:37.349" v="3150" actId="2696"/>
          <pc:sldLayoutMkLst>
            <pc:docMk/>
            <pc:sldMasterMk cId="271522072" sldId="2147483809"/>
            <pc:sldLayoutMk cId="1880120359" sldId="2147483826"/>
          </pc:sldLayoutMkLst>
        </pc:sldLayoutChg>
        <pc:sldLayoutChg chg="del">
          <pc:chgData name="Michael Collier" userId="c2873510-4a44-4d85-aef3-d7e8e051fe69" providerId="ADAL" clId="{CB384C6B-A00D-433E-855E-730CF8DB42CF}" dt="2018-03-09T02:13:37.386" v="3151" actId="2696"/>
          <pc:sldLayoutMkLst>
            <pc:docMk/>
            <pc:sldMasterMk cId="271522072" sldId="2147483809"/>
            <pc:sldLayoutMk cId="4038384734" sldId="2147483827"/>
          </pc:sldLayoutMkLst>
        </pc:sldLayoutChg>
        <pc:sldLayoutChg chg="del">
          <pc:chgData name="Michael Collier" userId="c2873510-4a44-4d85-aef3-d7e8e051fe69" providerId="ADAL" clId="{CB384C6B-A00D-433E-855E-730CF8DB42CF}" dt="2018-03-09T02:13:37.457" v="3152" actId="2696"/>
          <pc:sldLayoutMkLst>
            <pc:docMk/>
            <pc:sldMasterMk cId="271522072" sldId="2147483809"/>
            <pc:sldLayoutMk cId="3878036716" sldId="2147483828"/>
          </pc:sldLayoutMkLst>
        </pc:sldLayoutChg>
        <pc:sldLayoutChg chg="del">
          <pc:chgData name="Michael Collier" userId="c2873510-4a44-4d85-aef3-d7e8e051fe69" providerId="ADAL" clId="{CB384C6B-A00D-433E-855E-730CF8DB42CF}" dt="2018-03-09T02:13:37.490" v="3153" actId="2696"/>
          <pc:sldLayoutMkLst>
            <pc:docMk/>
            <pc:sldMasterMk cId="271522072" sldId="2147483809"/>
            <pc:sldLayoutMk cId="3344949295" sldId="2147483829"/>
          </pc:sldLayoutMkLst>
        </pc:sldLayoutChg>
        <pc:sldLayoutChg chg="del">
          <pc:chgData name="Michael Collier" userId="c2873510-4a44-4d85-aef3-d7e8e051fe69" providerId="ADAL" clId="{CB384C6B-A00D-433E-855E-730CF8DB42CF}" dt="2018-03-09T02:13:37.562" v="3154" actId="2696"/>
          <pc:sldLayoutMkLst>
            <pc:docMk/>
            <pc:sldMasterMk cId="271522072" sldId="2147483809"/>
            <pc:sldLayoutMk cId="1227396989" sldId="2147483830"/>
          </pc:sldLayoutMkLst>
        </pc:sldLayoutChg>
        <pc:sldLayoutChg chg="del">
          <pc:chgData name="Michael Collier" userId="c2873510-4a44-4d85-aef3-d7e8e051fe69" providerId="ADAL" clId="{CB384C6B-A00D-433E-855E-730CF8DB42CF}" dt="2018-03-09T02:13:37.592" v="3155" actId="2696"/>
          <pc:sldLayoutMkLst>
            <pc:docMk/>
            <pc:sldMasterMk cId="271522072" sldId="2147483809"/>
            <pc:sldLayoutMk cId="435036573" sldId="2147483831"/>
          </pc:sldLayoutMkLst>
        </pc:sldLayoutChg>
        <pc:sldLayoutChg chg="del">
          <pc:chgData name="Michael Collier" userId="c2873510-4a44-4d85-aef3-d7e8e051fe69" providerId="ADAL" clId="{CB384C6B-A00D-433E-855E-730CF8DB42CF}" dt="2018-03-09T02:13:37.655" v="3156" actId="2696"/>
          <pc:sldLayoutMkLst>
            <pc:docMk/>
            <pc:sldMasterMk cId="271522072" sldId="2147483809"/>
            <pc:sldLayoutMk cId="3797020104" sldId="2147483832"/>
          </pc:sldLayoutMkLst>
        </pc:sldLayoutChg>
        <pc:sldLayoutChg chg="del">
          <pc:chgData name="Michael Collier" userId="c2873510-4a44-4d85-aef3-d7e8e051fe69" providerId="ADAL" clId="{CB384C6B-A00D-433E-855E-730CF8DB42CF}" dt="2018-03-09T02:13:37.695" v="3157" actId="2696"/>
          <pc:sldLayoutMkLst>
            <pc:docMk/>
            <pc:sldMasterMk cId="271522072" sldId="2147483809"/>
            <pc:sldLayoutMk cId="3810911074" sldId="2147483833"/>
          </pc:sldLayoutMkLst>
        </pc:sldLayoutChg>
        <pc:sldLayoutChg chg="del">
          <pc:chgData name="Michael Collier" userId="c2873510-4a44-4d85-aef3-d7e8e051fe69" providerId="ADAL" clId="{CB384C6B-A00D-433E-855E-730CF8DB42CF}" dt="2018-03-09T02:13:37.774" v="3158" actId="2696"/>
          <pc:sldLayoutMkLst>
            <pc:docMk/>
            <pc:sldMasterMk cId="271522072" sldId="2147483809"/>
            <pc:sldLayoutMk cId="3885604065" sldId="2147483834"/>
          </pc:sldLayoutMkLst>
        </pc:sldLayoutChg>
        <pc:sldLayoutChg chg="del">
          <pc:chgData name="Michael Collier" userId="c2873510-4a44-4d85-aef3-d7e8e051fe69" providerId="ADAL" clId="{CB384C6B-A00D-433E-855E-730CF8DB42CF}" dt="2018-03-09T02:13:37.813" v="3159" actId="2696"/>
          <pc:sldLayoutMkLst>
            <pc:docMk/>
            <pc:sldMasterMk cId="271522072" sldId="2147483809"/>
            <pc:sldLayoutMk cId="169493310" sldId="2147483835"/>
          </pc:sldLayoutMkLst>
        </pc:sldLayoutChg>
      </pc:sldMasterChg>
      <pc:sldMasterChg chg="del delSldLayout">
        <pc:chgData name="Michael Collier" userId="c2873510-4a44-4d85-aef3-d7e8e051fe69" providerId="ADAL" clId="{CB384C6B-A00D-433E-855E-730CF8DB42CF}" dt="2018-03-09T03:45:35.702" v="4044" actId="2696"/>
        <pc:sldMasterMkLst>
          <pc:docMk/>
          <pc:sldMasterMk cId="1637364953" sldId="2147483894"/>
        </pc:sldMasterMkLst>
        <pc:sldLayoutChg chg="del">
          <pc:chgData name="Michael Collier" userId="c2873510-4a44-4d85-aef3-d7e8e051fe69" providerId="ADAL" clId="{CB384C6B-A00D-433E-855E-730CF8DB42CF}" dt="2018-03-09T03:45:35.507" v="4022" actId="2696"/>
          <pc:sldLayoutMkLst>
            <pc:docMk/>
            <pc:sldMasterMk cId="1637364953" sldId="2147483894"/>
            <pc:sldLayoutMk cId="3344801310" sldId="2147483895"/>
          </pc:sldLayoutMkLst>
        </pc:sldLayoutChg>
        <pc:sldLayoutChg chg="del">
          <pc:chgData name="Michael Collier" userId="c2873510-4a44-4d85-aef3-d7e8e051fe69" providerId="ADAL" clId="{CB384C6B-A00D-433E-855E-730CF8DB42CF}" dt="2018-03-09T03:45:35.509" v="4023" actId="2696"/>
          <pc:sldLayoutMkLst>
            <pc:docMk/>
            <pc:sldMasterMk cId="1637364953" sldId="2147483894"/>
            <pc:sldLayoutMk cId="2959099074" sldId="2147483896"/>
          </pc:sldLayoutMkLst>
        </pc:sldLayoutChg>
        <pc:sldLayoutChg chg="del">
          <pc:chgData name="Michael Collier" userId="c2873510-4a44-4d85-aef3-d7e8e051fe69" providerId="ADAL" clId="{CB384C6B-A00D-433E-855E-730CF8DB42CF}" dt="2018-03-09T03:45:35.524" v="4024" actId="2696"/>
          <pc:sldLayoutMkLst>
            <pc:docMk/>
            <pc:sldMasterMk cId="1637364953" sldId="2147483894"/>
            <pc:sldLayoutMk cId="2902276813" sldId="2147483897"/>
          </pc:sldLayoutMkLst>
        </pc:sldLayoutChg>
        <pc:sldLayoutChg chg="del">
          <pc:chgData name="Michael Collier" userId="c2873510-4a44-4d85-aef3-d7e8e051fe69" providerId="ADAL" clId="{CB384C6B-A00D-433E-855E-730CF8DB42CF}" dt="2018-03-09T03:45:35.524" v="4025" actId="2696"/>
          <pc:sldLayoutMkLst>
            <pc:docMk/>
            <pc:sldMasterMk cId="1637364953" sldId="2147483894"/>
            <pc:sldLayoutMk cId="3198176775" sldId="2147483898"/>
          </pc:sldLayoutMkLst>
        </pc:sldLayoutChg>
        <pc:sldLayoutChg chg="del">
          <pc:chgData name="Michael Collier" userId="c2873510-4a44-4d85-aef3-d7e8e051fe69" providerId="ADAL" clId="{CB384C6B-A00D-433E-855E-730CF8DB42CF}" dt="2018-03-09T03:45:35.540" v="4026" actId="2696"/>
          <pc:sldLayoutMkLst>
            <pc:docMk/>
            <pc:sldMasterMk cId="1637364953" sldId="2147483894"/>
            <pc:sldLayoutMk cId="3312401052" sldId="2147483899"/>
          </pc:sldLayoutMkLst>
        </pc:sldLayoutChg>
        <pc:sldLayoutChg chg="del">
          <pc:chgData name="Michael Collier" userId="c2873510-4a44-4d85-aef3-d7e8e051fe69" providerId="ADAL" clId="{CB384C6B-A00D-433E-855E-730CF8DB42CF}" dt="2018-03-09T03:45:35.553" v="4027" actId="2696"/>
          <pc:sldLayoutMkLst>
            <pc:docMk/>
            <pc:sldMasterMk cId="1637364953" sldId="2147483894"/>
            <pc:sldLayoutMk cId="458966918" sldId="2147483900"/>
          </pc:sldLayoutMkLst>
        </pc:sldLayoutChg>
        <pc:sldLayoutChg chg="del">
          <pc:chgData name="Michael Collier" userId="c2873510-4a44-4d85-aef3-d7e8e051fe69" providerId="ADAL" clId="{CB384C6B-A00D-433E-855E-730CF8DB42CF}" dt="2018-03-09T03:45:35.562" v="4028" actId="2696"/>
          <pc:sldLayoutMkLst>
            <pc:docMk/>
            <pc:sldMasterMk cId="1637364953" sldId="2147483894"/>
            <pc:sldLayoutMk cId="364021827" sldId="2147483901"/>
          </pc:sldLayoutMkLst>
        </pc:sldLayoutChg>
        <pc:sldLayoutChg chg="del">
          <pc:chgData name="Michael Collier" userId="c2873510-4a44-4d85-aef3-d7e8e051fe69" providerId="ADAL" clId="{CB384C6B-A00D-433E-855E-730CF8DB42CF}" dt="2018-03-09T03:45:35.569" v="4029" actId="2696"/>
          <pc:sldLayoutMkLst>
            <pc:docMk/>
            <pc:sldMasterMk cId="1637364953" sldId="2147483894"/>
            <pc:sldLayoutMk cId="2586027527" sldId="2147483902"/>
          </pc:sldLayoutMkLst>
        </pc:sldLayoutChg>
        <pc:sldLayoutChg chg="del">
          <pc:chgData name="Michael Collier" userId="c2873510-4a44-4d85-aef3-d7e8e051fe69" providerId="ADAL" clId="{CB384C6B-A00D-433E-855E-730CF8DB42CF}" dt="2018-03-09T03:45:35.575" v="4030" actId="2696"/>
          <pc:sldLayoutMkLst>
            <pc:docMk/>
            <pc:sldMasterMk cId="1637364953" sldId="2147483894"/>
            <pc:sldLayoutMk cId="3199203535" sldId="2147483903"/>
          </pc:sldLayoutMkLst>
        </pc:sldLayoutChg>
        <pc:sldLayoutChg chg="del">
          <pc:chgData name="Michael Collier" userId="c2873510-4a44-4d85-aef3-d7e8e051fe69" providerId="ADAL" clId="{CB384C6B-A00D-433E-855E-730CF8DB42CF}" dt="2018-03-09T03:45:35.584" v="4031" actId="2696"/>
          <pc:sldLayoutMkLst>
            <pc:docMk/>
            <pc:sldMasterMk cId="1637364953" sldId="2147483894"/>
            <pc:sldLayoutMk cId="2474412403" sldId="2147483904"/>
          </pc:sldLayoutMkLst>
        </pc:sldLayoutChg>
        <pc:sldLayoutChg chg="del">
          <pc:chgData name="Michael Collier" userId="c2873510-4a44-4d85-aef3-d7e8e051fe69" providerId="ADAL" clId="{CB384C6B-A00D-433E-855E-730CF8DB42CF}" dt="2018-03-09T03:45:35.584" v="4032" actId="2696"/>
          <pc:sldLayoutMkLst>
            <pc:docMk/>
            <pc:sldMasterMk cId="1637364953" sldId="2147483894"/>
            <pc:sldLayoutMk cId="2886259665" sldId="2147483905"/>
          </pc:sldLayoutMkLst>
        </pc:sldLayoutChg>
        <pc:sldLayoutChg chg="del">
          <pc:chgData name="Michael Collier" userId="c2873510-4a44-4d85-aef3-d7e8e051fe69" providerId="ADAL" clId="{CB384C6B-A00D-433E-855E-730CF8DB42CF}" dt="2018-03-09T03:45:35.604" v="4033" actId="2696"/>
          <pc:sldLayoutMkLst>
            <pc:docMk/>
            <pc:sldMasterMk cId="1637364953" sldId="2147483894"/>
            <pc:sldLayoutMk cId="3008253918" sldId="2147483906"/>
          </pc:sldLayoutMkLst>
        </pc:sldLayoutChg>
        <pc:sldLayoutChg chg="del">
          <pc:chgData name="Michael Collier" userId="c2873510-4a44-4d85-aef3-d7e8e051fe69" providerId="ADAL" clId="{CB384C6B-A00D-433E-855E-730CF8DB42CF}" dt="2018-03-09T03:45:35.609" v="4034" actId="2696"/>
          <pc:sldLayoutMkLst>
            <pc:docMk/>
            <pc:sldMasterMk cId="1637364953" sldId="2147483894"/>
            <pc:sldLayoutMk cId="2722572365" sldId="2147483907"/>
          </pc:sldLayoutMkLst>
        </pc:sldLayoutChg>
        <pc:sldLayoutChg chg="del">
          <pc:chgData name="Michael Collier" userId="c2873510-4a44-4d85-aef3-d7e8e051fe69" providerId="ADAL" clId="{CB384C6B-A00D-433E-855E-730CF8DB42CF}" dt="2018-03-09T03:45:35.609" v="4035" actId="2696"/>
          <pc:sldLayoutMkLst>
            <pc:docMk/>
            <pc:sldMasterMk cId="1637364953" sldId="2147483894"/>
            <pc:sldLayoutMk cId="636792785" sldId="2147483908"/>
          </pc:sldLayoutMkLst>
        </pc:sldLayoutChg>
        <pc:sldLayoutChg chg="del">
          <pc:chgData name="Michael Collier" userId="c2873510-4a44-4d85-aef3-d7e8e051fe69" providerId="ADAL" clId="{CB384C6B-A00D-433E-855E-730CF8DB42CF}" dt="2018-03-09T03:45:35.624" v="4036" actId="2696"/>
          <pc:sldLayoutMkLst>
            <pc:docMk/>
            <pc:sldMasterMk cId="1637364953" sldId="2147483894"/>
            <pc:sldLayoutMk cId="3292750844" sldId="2147483909"/>
          </pc:sldLayoutMkLst>
        </pc:sldLayoutChg>
        <pc:sldLayoutChg chg="del">
          <pc:chgData name="Michael Collier" userId="c2873510-4a44-4d85-aef3-d7e8e051fe69" providerId="ADAL" clId="{CB384C6B-A00D-433E-855E-730CF8DB42CF}" dt="2018-03-09T03:45:35.624" v="4037" actId="2696"/>
          <pc:sldLayoutMkLst>
            <pc:docMk/>
            <pc:sldMasterMk cId="1637364953" sldId="2147483894"/>
            <pc:sldLayoutMk cId="1210293851" sldId="2147483910"/>
          </pc:sldLayoutMkLst>
        </pc:sldLayoutChg>
        <pc:sldLayoutChg chg="del">
          <pc:chgData name="Michael Collier" userId="c2873510-4a44-4d85-aef3-d7e8e051fe69" providerId="ADAL" clId="{CB384C6B-A00D-433E-855E-730CF8DB42CF}" dt="2018-03-09T03:45:35.640" v="4038" actId="2696"/>
          <pc:sldLayoutMkLst>
            <pc:docMk/>
            <pc:sldMasterMk cId="1637364953" sldId="2147483894"/>
            <pc:sldLayoutMk cId="2796909834" sldId="2147483911"/>
          </pc:sldLayoutMkLst>
        </pc:sldLayoutChg>
        <pc:sldLayoutChg chg="del">
          <pc:chgData name="Michael Collier" userId="c2873510-4a44-4d85-aef3-d7e8e051fe69" providerId="ADAL" clId="{CB384C6B-A00D-433E-855E-730CF8DB42CF}" dt="2018-03-09T03:45:35.656" v="4039" actId="2696"/>
          <pc:sldLayoutMkLst>
            <pc:docMk/>
            <pc:sldMasterMk cId="1637364953" sldId="2147483894"/>
            <pc:sldLayoutMk cId="3683327475" sldId="2147483912"/>
          </pc:sldLayoutMkLst>
        </pc:sldLayoutChg>
        <pc:sldLayoutChg chg="del">
          <pc:chgData name="Michael Collier" userId="c2873510-4a44-4d85-aef3-d7e8e051fe69" providerId="ADAL" clId="{CB384C6B-A00D-433E-855E-730CF8DB42CF}" dt="2018-03-09T03:45:35.656" v="4040" actId="2696"/>
          <pc:sldLayoutMkLst>
            <pc:docMk/>
            <pc:sldMasterMk cId="1637364953" sldId="2147483894"/>
            <pc:sldLayoutMk cId="1310603897" sldId="2147483913"/>
          </pc:sldLayoutMkLst>
        </pc:sldLayoutChg>
        <pc:sldLayoutChg chg="del">
          <pc:chgData name="Michael Collier" userId="c2873510-4a44-4d85-aef3-d7e8e051fe69" providerId="ADAL" clId="{CB384C6B-A00D-433E-855E-730CF8DB42CF}" dt="2018-03-09T03:45:35.671" v="4041" actId="2696"/>
          <pc:sldLayoutMkLst>
            <pc:docMk/>
            <pc:sldMasterMk cId="1637364953" sldId="2147483894"/>
            <pc:sldLayoutMk cId="1768168439" sldId="2147483914"/>
          </pc:sldLayoutMkLst>
        </pc:sldLayoutChg>
        <pc:sldLayoutChg chg="del">
          <pc:chgData name="Michael Collier" userId="c2873510-4a44-4d85-aef3-d7e8e051fe69" providerId="ADAL" clId="{CB384C6B-A00D-433E-855E-730CF8DB42CF}" dt="2018-03-09T03:45:35.671" v="4042" actId="2696"/>
          <pc:sldLayoutMkLst>
            <pc:docMk/>
            <pc:sldMasterMk cId="1637364953" sldId="2147483894"/>
            <pc:sldLayoutMk cId="953925469" sldId="2147483915"/>
          </pc:sldLayoutMkLst>
        </pc:sldLayoutChg>
        <pc:sldLayoutChg chg="del">
          <pc:chgData name="Michael Collier" userId="c2873510-4a44-4d85-aef3-d7e8e051fe69" providerId="ADAL" clId="{CB384C6B-A00D-433E-855E-730CF8DB42CF}" dt="2018-03-09T03:45:35.691" v="4043" actId="2696"/>
          <pc:sldLayoutMkLst>
            <pc:docMk/>
            <pc:sldMasterMk cId="1637364953" sldId="2147483894"/>
            <pc:sldLayoutMk cId="3378005468" sldId="214748391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3/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26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r>
              <a:rPr lang="en-US" dirty="0"/>
              <a:t>For serverless apps, we provide full E2E development experience through  tools like Visual Studio and VS Code.  We in fact support unique features like the ability to build, test and debug your applications locally on your dev machines, before even deploying them to the cloud.  This is a massive productivity boost while building cloud apps!.  These technologies support continuous deployment so you can easily integrate them into your existing deployment pipelines.  And finally, we provide full monitoring support through Azure Application Insights to monitor your apps in produc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642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Stateful singletons</a:t>
            </a:r>
          </a:p>
          <a:p>
            <a:r>
              <a:rPr lang="en-US" dirty="0"/>
              <a:t>5 – Human interaction</a:t>
            </a:r>
          </a:p>
          <a:p>
            <a:endParaRPr lang="en-US" dirty="0"/>
          </a:p>
          <a:p>
            <a:r>
              <a:rPr lang="en-US" dirty="0"/>
              <a:t>https://github.com/Azure/azure-functions-durable-extension/releases/tag/v1.2.0-beta3</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8B7E5-BD62-4938-9F50-C9A6F31BB476}"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82265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entry point to Logic Apps will likely be the Workflow Design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30</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8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8B7E5-BD62-4938-9F50-C9A6F31BB476}"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56921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6</a:t>
            </a:fld>
            <a:endParaRPr lang="en-US"/>
          </a:p>
        </p:txBody>
      </p:sp>
    </p:spTree>
    <p:extLst>
      <p:ext uri="{BB962C8B-B14F-4D97-AF65-F5344CB8AC3E}">
        <p14:creationId xmlns:p14="http://schemas.microsoft.com/office/powerpoint/2010/main" val="20096601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serverless, I wanted to discuss some history of how apps have been built through the years and how that has led us to the computing options we have to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n-Premises</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8 11:40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54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apitel gul">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8" name="Title 12"/>
          <p:cNvSpPr>
            <a:spLocks noGrp="1"/>
          </p:cNvSpPr>
          <p:nvPr>
            <p:ph type="title" hasCustomPrompt="1"/>
          </p:nvPr>
        </p:nvSpPr>
        <p:spPr>
          <a:xfrm>
            <a:off x="559192" y="3305907"/>
            <a:ext cx="5523012" cy="2278963"/>
          </a:xfrm>
        </p:spPr>
        <p:txBody>
          <a:bodyPr anchor="b"/>
          <a:lstStyle>
            <a:lvl1pPr>
              <a:lnSpc>
                <a:spcPct val="100000"/>
              </a:lnSpc>
              <a:defRPr sz="4000"/>
            </a:lvl1pPr>
          </a:lstStyle>
          <a:p>
            <a:r>
              <a:rPr lang="en-US" noProof="0" dirty="0"/>
              <a:t>Click to edit master title</a:t>
            </a:r>
          </a:p>
        </p:txBody>
      </p:sp>
      <p:sp>
        <p:nvSpPr>
          <p:cNvPr id="9"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1" name="Content Placeholder 3"/>
          <p:cNvSpPr>
            <a:spLocks noGrp="1"/>
          </p:cNvSpPr>
          <p:nvPr>
            <p:ph sz="quarter" idx="14"/>
          </p:nvPr>
        </p:nvSpPr>
        <p:spPr>
          <a:xfrm>
            <a:off x="6400555" y="1006475"/>
            <a:ext cx="5214938" cy="5268913"/>
          </a:xfrm>
        </p:spPr>
        <p:txBody>
          <a:bodyPr anchor="b"/>
          <a:lstStyle>
            <a:lvl1pPr>
              <a:buClr>
                <a:schemeClr val="bg1"/>
              </a:buClr>
              <a:defRPr/>
            </a:lvl1pPr>
            <a:lvl2pPr>
              <a:buClr>
                <a:schemeClr val="bg1"/>
              </a:buClr>
              <a:defRPr/>
            </a:lvl2pPr>
            <a:lvl3pPr>
              <a:buClr>
                <a:schemeClr val="bg1"/>
              </a:buClr>
              <a:defRPr/>
            </a:lvl3pPr>
            <a:lvl4pPr>
              <a:buClr>
                <a:schemeClr val="bg1"/>
              </a:buClr>
              <a:defRPr/>
            </a:lvl4pPr>
            <a:lvl5pPr>
              <a:buClr>
                <a:schemeClr val="bg1"/>
              </a:buClr>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16030770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apitel med bild">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Picture Placeholder 3"/>
          <p:cNvSpPr>
            <a:spLocks noGrp="1"/>
          </p:cNvSpPr>
          <p:nvPr>
            <p:ph type="pic" sz="quarter" idx="14"/>
          </p:nvPr>
        </p:nvSpPr>
        <p:spPr>
          <a:xfrm>
            <a:off x="258055" y="747713"/>
            <a:ext cx="11674638" cy="5851525"/>
          </a:xfrm>
        </p:spPr>
        <p:txBody>
          <a:bodyPr/>
          <a:lstStyle/>
          <a:p>
            <a:r>
              <a:rPr lang="sv-SE" noProof="0"/>
              <a:t>Klicka på ikonen för att lägga till en bild</a:t>
            </a:r>
            <a:endParaRPr lang="en-US" noProof="0" dirty="0"/>
          </a:p>
        </p:txBody>
      </p:sp>
      <p:sp>
        <p:nvSpPr>
          <p:cNvPr id="7"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8" name="Title 12"/>
          <p:cNvSpPr>
            <a:spLocks noGrp="1"/>
          </p:cNvSpPr>
          <p:nvPr>
            <p:ph type="title" hasCustomPrompt="1"/>
          </p:nvPr>
        </p:nvSpPr>
        <p:spPr>
          <a:xfrm>
            <a:off x="559192" y="3305907"/>
            <a:ext cx="5523012" cy="2278963"/>
          </a:xfrm>
        </p:spPr>
        <p:txBody>
          <a:bodyPr anchor="b"/>
          <a:lstStyle>
            <a:lvl1pPr>
              <a:lnSpc>
                <a:spcPct val="100000"/>
              </a:lnSpc>
              <a:defRPr sz="4000">
                <a:solidFill>
                  <a:schemeClr val="bg1"/>
                </a:solidFill>
              </a:defRPr>
            </a:lvl1pPr>
          </a:lstStyle>
          <a:p>
            <a:r>
              <a:rPr lang="en-US" noProof="0" dirty="0"/>
              <a:t>Click to edit master title</a:t>
            </a:r>
          </a:p>
        </p:txBody>
      </p:sp>
      <p:sp>
        <p:nvSpPr>
          <p:cNvPr id="9"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1" name="Content Placeholder 3"/>
          <p:cNvSpPr>
            <a:spLocks noGrp="1"/>
          </p:cNvSpPr>
          <p:nvPr>
            <p:ph sz="quarter" idx="15"/>
          </p:nvPr>
        </p:nvSpPr>
        <p:spPr>
          <a:xfrm>
            <a:off x="6400555" y="1006475"/>
            <a:ext cx="5214938" cy="5268913"/>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11994469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050" y="1077375"/>
            <a:ext cx="7391850" cy="556114"/>
          </a:xfrm>
        </p:spPr>
        <p:txBody>
          <a:bodyPr/>
          <a:lstStyle/>
          <a:p>
            <a:r>
              <a:rPr lang="en-US" noProof="0" dirty="0"/>
              <a:t>Click to edit master title</a:t>
            </a:r>
          </a:p>
        </p:txBody>
      </p:sp>
      <p:sp>
        <p:nvSpPr>
          <p:cNvPr id="3" name="Date Placeholder 2"/>
          <p:cNvSpPr>
            <a:spLocks noGrp="1"/>
          </p:cNvSpPr>
          <p:nvPr>
            <p:ph type="dt" sz="half" idx="10"/>
          </p:nvPr>
        </p:nvSpPr>
        <p:spPr/>
        <p:txBody>
          <a:bodyPr/>
          <a:lstStyle/>
          <a:p>
            <a:fld id="{CC564DCC-93F6-4626-851E-B7512A158F15}" type="datetimeFigureOut">
              <a:rPr lang="en-US" noProof="0" smtClean="0"/>
              <a:pPr/>
              <a:t>3/12/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
        <p:nvSpPr>
          <p:cNvPr id="8" name="Content Placeholder 7"/>
          <p:cNvSpPr>
            <a:spLocks noGrp="1"/>
          </p:cNvSpPr>
          <p:nvPr>
            <p:ph sz="quarter" idx="14"/>
          </p:nvPr>
        </p:nvSpPr>
        <p:spPr>
          <a:xfrm>
            <a:off x="566738" y="1828800"/>
            <a:ext cx="739616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40978194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Rubrik och två kolum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050" y="1077375"/>
            <a:ext cx="11046700" cy="556114"/>
          </a:xfrm>
        </p:spPr>
        <p:txBody>
          <a:bodyPr/>
          <a:lstStyle/>
          <a:p>
            <a:r>
              <a:rPr lang="en-US" noProof="0" dirty="0"/>
              <a:t>Click to edit master title</a:t>
            </a:r>
          </a:p>
        </p:txBody>
      </p:sp>
      <p:sp>
        <p:nvSpPr>
          <p:cNvPr id="3" name="Date Placeholder 2"/>
          <p:cNvSpPr>
            <a:spLocks noGrp="1"/>
          </p:cNvSpPr>
          <p:nvPr>
            <p:ph type="dt" sz="half" idx="10"/>
          </p:nvPr>
        </p:nvSpPr>
        <p:spPr/>
        <p:txBody>
          <a:bodyPr/>
          <a:lstStyle/>
          <a:p>
            <a:fld id="{CC564DCC-93F6-4626-851E-B7512A158F15}" type="datetimeFigureOut">
              <a:rPr lang="en-US" noProof="0" smtClean="0"/>
              <a:pPr/>
              <a:t>3/12/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
        <p:nvSpPr>
          <p:cNvPr id="8" name="Content Placeholder 7"/>
          <p:cNvSpPr>
            <a:spLocks noGrp="1"/>
          </p:cNvSpPr>
          <p:nvPr>
            <p:ph sz="quarter" idx="14"/>
          </p:nvPr>
        </p:nvSpPr>
        <p:spPr>
          <a:xfrm>
            <a:off x="566738" y="1828800"/>
            <a:ext cx="534373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9" name="Content Placeholder 7"/>
          <p:cNvSpPr>
            <a:spLocks noGrp="1"/>
          </p:cNvSpPr>
          <p:nvPr>
            <p:ph sz="quarter" idx="15"/>
          </p:nvPr>
        </p:nvSpPr>
        <p:spPr>
          <a:xfrm>
            <a:off x="6274018" y="1828800"/>
            <a:ext cx="5343732" cy="4240213"/>
          </a:xfrm>
        </p:spPr>
        <p:txBody>
          <a:body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31830775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C564DCC-93F6-4626-851E-B7512A158F15}" type="datetimeFigureOut">
              <a:rPr lang="en-US" noProof="0" smtClean="0"/>
              <a:pPr/>
              <a:t>3/12/2018</a:t>
            </a:fld>
            <a:endParaRPr lang="en-US" noProof="0" dirty="0"/>
          </a:p>
        </p:txBody>
      </p:sp>
      <p:sp>
        <p:nvSpPr>
          <p:cNvPr id="4" name="Footer Placeholder 3"/>
          <p:cNvSpPr>
            <a:spLocks noGrp="1"/>
          </p:cNvSpPr>
          <p:nvPr>
            <p:ph type="ftr" sz="quarter" idx="11"/>
          </p:nvPr>
        </p:nvSpPr>
        <p:spPr>
          <a:xfrm>
            <a:off x="566738" y="6295400"/>
            <a:ext cx="3240000" cy="252000"/>
          </a:xfrm>
        </p:spPr>
        <p:txBody>
          <a:bodyPr/>
          <a:lstStyle/>
          <a:p>
            <a:endParaRPr lang="en-US" noProof="0" dirty="0"/>
          </a:p>
        </p:txBody>
      </p:sp>
      <p:sp>
        <p:nvSpPr>
          <p:cNvPr id="5" name="Slide Number Placeholder 4"/>
          <p:cNvSpPr>
            <a:spLocks noGrp="1"/>
          </p:cNvSpPr>
          <p:nvPr>
            <p:ph type="sldNum" sz="quarter" idx="12"/>
          </p:nvPr>
        </p:nvSpPr>
        <p:spPr>
          <a:xfrm>
            <a:off x="9349750" y="6295400"/>
            <a:ext cx="2268000" cy="252000"/>
          </a:xfrm>
        </p:spPr>
        <p:txBody>
          <a:bodyPr/>
          <a:lstStyle/>
          <a:p>
            <a:fld id="{9F2427D2-1D7A-43E0-8D06-E65F1A373F4F}" type="slidenum">
              <a:rPr lang="en-US" noProof="0" smtClean="0"/>
              <a:pPr/>
              <a:t>‹#›</a:t>
            </a:fld>
            <a:endParaRPr lang="en-US" noProof="0" dirty="0"/>
          </a:p>
        </p:txBody>
      </p:sp>
    </p:spTree>
    <p:extLst>
      <p:ext uri="{BB962C8B-B14F-4D97-AF65-F5344CB8AC3E}">
        <p14:creationId xmlns:p14="http://schemas.microsoft.com/office/powerpoint/2010/main" val="36626265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ummering och agenda">
    <p:spTree>
      <p:nvGrpSpPr>
        <p:cNvPr id="1" name=""/>
        <p:cNvGrpSpPr/>
        <p:nvPr/>
      </p:nvGrpSpPr>
      <p:grpSpPr>
        <a:xfrm>
          <a:off x="0" y="0"/>
          <a:ext cx="0" cy="0"/>
          <a:chOff x="0" y="0"/>
          <a:chExt cx="0" cy="0"/>
        </a:xfrm>
      </p:grpSpPr>
      <p:sp>
        <p:nvSpPr>
          <p:cNvPr id="23" name="Rectangle 22"/>
          <p:cNvSpPr/>
          <p:nvPr userDrawn="1"/>
        </p:nvSpPr>
        <p:spPr>
          <a:xfrm>
            <a:off x="6079524" y="746975"/>
            <a:ext cx="585442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Picture Placeholder 21"/>
          <p:cNvSpPr>
            <a:spLocks noGrp="1"/>
          </p:cNvSpPr>
          <p:nvPr>
            <p:ph type="pic" sz="quarter" idx="17"/>
          </p:nvPr>
        </p:nvSpPr>
        <p:spPr>
          <a:xfrm>
            <a:off x="6079401" y="733723"/>
            <a:ext cx="5853113" cy="5870575"/>
          </a:xfrm>
        </p:spPr>
        <p:txBody>
          <a:bodyPr/>
          <a:lstStyle/>
          <a:p>
            <a:pPr marL="180000" marR="0" lvl="0" indent="-180000" algn="l" defTabSz="914400" rtl="0" eaLnBrk="1" fontAlgn="auto" latinLnBrk="0" hangingPunct="1">
              <a:lnSpc>
                <a:spcPts val="2500"/>
              </a:lnSpc>
              <a:spcBef>
                <a:spcPts val="0"/>
              </a:spcBef>
              <a:spcAft>
                <a:spcPts val="0"/>
              </a:spcAft>
              <a:buClr>
                <a:schemeClr val="accent2"/>
              </a:buClr>
              <a:buSzTx/>
              <a:buFont typeface="Wingdings" charset="2"/>
              <a:buNone/>
              <a:tabLst/>
              <a:defRPr/>
            </a:pPr>
            <a:r>
              <a:rPr lang="sv-SE" noProof="0"/>
              <a:t>Klicka på ikonen för att lägga till en bild</a:t>
            </a:r>
            <a:endParaRPr lang="en-US" noProof="0" dirty="0"/>
          </a:p>
        </p:txBody>
      </p:sp>
      <p:sp>
        <p:nvSpPr>
          <p:cNvPr id="2" name="Title 1"/>
          <p:cNvSpPr>
            <a:spLocks noGrp="1"/>
          </p:cNvSpPr>
          <p:nvPr>
            <p:ph type="title" hasCustomPrompt="1"/>
          </p:nvPr>
        </p:nvSpPr>
        <p:spPr>
          <a:xfrm>
            <a:off x="553874" y="1079500"/>
            <a:ext cx="5059405" cy="1087312"/>
          </a:xfrm>
        </p:spPr>
        <p:txBody>
          <a:bodyPr anchor="b"/>
          <a:lstStyle>
            <a:lvl1pPr>
              <a:lnSpc>
                <a:spcPct val="100000"/>
              </a:lnSpc>
              <a:defRPr/>
            </a:lvl1pPr>
          </a:lstStyle>
          <a:p>
            <a:r>
              <a:rPr lang="en-US" noProof="0" dirty="0"/>
              <a:t>Click to edit master title</a:t>
            </a:r>
          </a:p>
        </p:txBody>
      </p:sp>
      <p:sp>
        <p:nvSpPr>
          <p:cNvPr id="14" name="Underrubrik 2"/>
          <p:cNvSpPr>
            <a:spLocks noGrp="1"/>
          </p:cNvSpPr>
          <p:nvPr>
            <p:ph type="subTitle" idx="1" hasCustomPrompt="1"/>
          </p:nvPr>
        </p:nvSpPr>
        <p:spPr>
          <a:xfrm>
            <a:off x="553874" y="2217612"/>
            <a:ext cx="5059405" cy="236128"/>
          </a:xfrm>
        </p:spPr>
        <p:txBody>
          <a:bodyPr anchor="t">
            <a:noAutofit/>
          </a:bodyPr>
          <a:lstStyle>
            <a:lvl1pPr marL="0" indent="0" algn="l">
              <a:lnSpc>
                <a:spcPct val="100000"/>
              </a:lnSpc>
              <a:buNone/>
              <a:defRPr sz="1000" cap="all" spc="3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2" name="Text Placeholder 11"/>
          <p:cNvSpPr>
            <a:spLocks noGrp="1"/>
          </p:cNvSpPr>
          <p:nvPr>
            <p:ph type="body" sz="quarter" idx="10"/>
          </p:nvPr>
        </p:nvSpPr>
        <p:spPr>
          <a:xfrm>
            <a:off x="554038" y="2628900"/>
            <a:ext cx="5059362" cy="363220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18" name="Text Placeholder 15"/>
          <p:cNvSpPr>
            <a:spLocks noGrp="1"/>
          </p:cNvSpPr>
          <p:nvPr>
            <p:ph type="body" sz="quarter" idx="14" hasCustomPrompt="1"/>
          </p:nvPr>
        </p:nvSpPr>
        <p:spPr>
          <a:xfrm>
            <a:off x="6079522" y="2990695"/>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9" name="Text Placeholder 15"/>
          <p:cNvSpPr>
            <a:spLocks noGrp="1"/>
          </p:cNvSpPr>
          <p:nvPr>
            <p:ph type="body" sz="quarter" idx="15" hasCustomPrompt="1"/>
          </p:nvPr>
        </p:nvSpPr>
        <p:spPr>
          <a:xfrm>
            <a:off x="6079522" y="3235204"/>
            <a:ext cx="5854422" cy="276130"/>
          </a:xfrm>
        </p:spPr>
        <p:txBody>
          <a:bodyPr anchor="b"/>
          <a:lstStyle>
            <a:lvl1pPr marL="0" indent="0" algn="ctr">
              <a:buNone/>
              <a:defRPr sz="1000" b="0" cap="all" spc="30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0" name="Text Placeholder 19"/>
          <p:cNvSpPr>
            <a:spLocks noGrp="1"/>
          </p:cNvSpPr>
          <p:nvPr>
            <p:ph type="body" sz="quarter" idx="16" hasCustomPrompt="1"/>
          </p:nvPr>
        </p:nvSpPr>
        <p:spPr>
          <a:xfrm>
            <a:off x="6079522" y="3620004"/>
            <a:ext cx="5853113" cy="685800"/>
          </a:xfrm>
        </p:spPr>
        <p:txBody>
          <a:bodyPr/>
          <a:lstStyle>
            <a:lvl1pPr marL="0" indent="0" algn="ctr">
              <a:lnSpc>
                <a:spcPct val="100000"/>
              </a:lnSpc>
              <a:buNone/>
              <a:defRPr sz="3200" b="0" i="0" baseline="0">
                <a:solidFill>
                  <a:schemeClr val="bg1"/>
                </a:solidFill>
                <a:latin typeface="Rockwell Std Light" charset="0"/>
                <a:ea typeface="Rockwell Std Light" charset="0"/>
                <a:cs typeface="Rockwell Std Light" charset="0"/>
              </a:defRPr>
            </a:lvl1pPr>
            <a:lvl2pPr marL="457200" indent="0" algn="ctr">
              <a:lnSpc>
                <a:spcPct val="100000"/>
              </a:lnSpc>
              <a:buNone/>
              <a:defRPr sz="3200" b="0" i="0">
                <a:latin typeface="Rockwell Std Light" charset="0"/>
                <a:ea typeface="Rockwell Std Light" charset="0"/>
                <a:cs typeface="Rockwell Std Light" charset="0"/>
              </a:defRPr>
            </a:lvl2pPr>
            <a:lvl3pPr marL="914400" indent="0" algn="ctr">
              <a:lnSpc>
                <a:spcPct val="100000"/>
              </a:lnSpc>
              <a:buNone/>
              <a:defRPr sz="3200" b="0" i="0">
                <a:latin typeface="Rockwell Std Light" charset="0"/>
                <a:ea typeface="Rockwell Std Light" charset="0"/>
                <a:cs typeface="Rockwell Std Light" charset="0"/>
              </a:defRPr>
            </a:lvl3pPr>
            <a:lvl4pPr marL="1371600" indent="0" algn="ctr">
              <a:lnSpc>
                <a:spcPct val="100000"/>
              </a:lnSpc>
              <a:buNone/>
              <a:defRPr sz="3200" b="0" i="0">
                <a:latin typeface="Rockwell Std Light" charset="0"/>
                <a:ea typeface="Rockwell Std Light" charset="0"/>
                <a:cs typeface="Rockwell Std Light" charset="0"/>
              </a:defRPr>
            </a:lvl4pPr>
            <a:lvl5pPr marL="1828800" indent="0" algn="ctr">
              <a:lnSpc>
                <a:spcPct val="100000"/>
              </a:lnSpc>
              <a:buNone/>
              <a:defRPr sz="3200" b="0" i="0">
                <a:latin typeface="Rockwell Std Light" charset="0"/>
                <a:ea typeface="Rockwell Std Light" charset="0"/>
                <a:cs typeface="Rockwell Std Light" charset="0"/>
              </a:defRPr>
            </a:lvl5pPr>
          </a:lstStyle>
          <a:p>
            <a:pPr lvl="0"/>
            <a:r>
              <a:rPr lang="en-US" noProof="0" dirty="0"/>
              <a:t>Click to edit presentation title</a:t>
            </a:r>
          </a:p>
        </p:txBody>
      </p:sp>
    </p:spTree>
    <p:extLst>
      <p:ext uri="{BB962C8B-B14F-4D97-AF65-F5344CB8AC3E}">
        <p14:creationId xmlns:p14="http://schemas.microsoft.com/office/powerpoint/2010/main" val="38178958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orkshopövning">
    <p:spTree>
      <p:nvGrpSpPr>
        <p:cNvPr id="1" name=""/>
        <p:cNvGrpSpPr/>
        <p:nvPr/>
      </p:nvGrpSpPr>
      <p:grpSpPr>
        <a:xfrm>
          <a:off x="0" y="0"/>
          <a:ext cx="0" cy="0"/>
          <a:chOff x="0" y="0"/>
          <a:chExt cx="0" cy="0"/>
        </a:xfrm>
      </p:grpSpPr>
      <p:sp>
        <p:nvSpPr>
          <p:cNvPr id="23" name="Rectangle 22"/>
          <p:cNvSpPr/>
          <p:nvPr userDrawn="1"/>
        </p:nvSpPr>
        <p:spPr>
          <a:xfrm>
            <a:off x="6079524" y="746975"/>
            <a:ext cx="585442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title" hasCustomPrompt="1"/>
          </p:nvPr>
        </p:nvSpPr>
        <p:spPr>
          <a:xfrm>
            <a:off x="553874" y="3810000"/>
            <a:ext cx="5059405" cy="1791670"/>
          </a:xfrm>
        </p:spPr>
        <p:txBody>
          <a:bodyPr anchor="b"/>
          <a:lstStyle>
            <a:lvl1pPr>
              <a:lnSpc>
                <a:spcPct val="100000"/>
              </a:lnSpc>
              <a:defRPr/>
            </a:lvl1pPr>
          </a:lstStyle>
          <a:p>
            <a:r>
              <a:rPr lang="en-US" noProof="0" dirty="0"/>
              <a:t>Click to edit master title</a:t>
            </a:r>
          </a:p>
        </p:txBody>
      </p:sp>
      <p:sp>
        <p:nvSpPr>
          <p:cNvPr id="12" name="Text Placeholder 11"/>
          <p:cNvSpPr>
            <a:spLocks noGrp="1"/>
          </p:cNvSpPr>
          <p:nvPr>
            <p:ph type="body" sz="quarter" idx="10"/>
          </p:nvPr>
        </p:nvSpPr>
        <p:spPr>
          <a:xfrm>
            <a:off x="6400799" y="1623156"/>
            <a:ext cx="5214551" cy="4711540"/>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15" name="Text Placeholder 15"/>
          <p:cNvSpPr>
            <a:spLocks noGrp="1"/>
          </p:cNvSpPr>
          <p:nvPr>
            <p:ph type="body" sz="quarter" idx="14" hasCustomPrompt="1"/>
          </p:nvPr>
        </p:nvSpPr>
        <p:spPr>
          <a:xfrm>
            <a:off x="553874" y="5864191"/>
            <a:ext cx="5059405" cy="225996"/>
          </a:xfrm>
        </p:spPr>
        <p:txBody>
          <a:bodyPr anchor="b"/>
          <a:lstStyle>
            <a:lvl1pPr marL="0" indent="0" algn="l">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workshop section</a:t>
            </a:r>
          </a:p>
        </p:txBody>
      </p:sp>
      <p:sp>
        <p:nvSpPr>
          <p:cNvPr id="16" name="Text Placeholder 15"/>
          <p:cNvSpPr>
            <a:spLocks noGrp="1"/>
          </p:cNvSpPr>
          <p:nvPr>
            <p:ph type="body" sz="quarter" idx="15" hasCustomPrompt="1"/>
          </p:nvPr>
        </p:nvSpPr>
        <p:spPr>
          <a:xfrm>
            <a:off x="553874" y="6120684"/>
            <a:ext cx="5059405" cy="225996"/>
          </a:xfrm>
        </p:spPr>
        <p:txBody>
          <a:bodyPr anchor="t"/>
          <a:lstStyle>
            <a:lvl1pPr marL="0" indent="0" algn="l">
              <a:lnSpc>
                <a:spcPct val="100000"/>
              </a:lnSpc>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EXERCISE NUMBER </a:t>
            </a:r>
          </a:p>
        </p:txBody>
      </p:sp>
      <p:sp>
        <p:nvSpPr>
          <p:cNvPr id="17" name="Text Placeholder 15"/>
          <p:cNvSpPr>
            <a:spLocks noGrp="1"/>
          </p:cNvSpPr>
          <p:nvPr>
            <p:ph type="body" sz="quarter" idx="16" hasCustomPrompt="1"/>
          </p:nvPr>
        </p:nvSpPr>
        <p:spPr>
          <a:xfrm>
            <a:off x="6400799" y="1064475"/>
            <a:ext cx="5214551" cy="278220"/>
          </a:xfrm>
        </p:spPr>
        <p:txBody>
          <a:bodyPr anchor="b"/>
          <a:lstStyle>
            <a:lvl1pPr marL="0" indent="0" algn="ctr">
              <a:buNone/>
              <a:defRPr sz="1600" b="1" cap="all"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INSTRUCTIONS TITLE</a:t>
            </a:r>
          </a:p>
        </p:txBody>
      </p:sp>
    </p:spTree>
    <p:extLst>
      <p:ext uri="{BB962C8B-B14F-4D97-AF65-F5344CB8AC3E}">
        <p14:creationId xmlns:p14="http://schemas.microsoft.com/office/powerpoint/2010/main" val="14661318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 viktiga punkter">
    <p:spTree>
      <p:nvGrpSpPr>
        <p:cNvPr id="1" name=""/>
        <p:cNvGrpSpPr/>
        <p:nvPr/>
      </p:nvGrpSpPr>
      <p:grpSpPr>
        <a:xfrm>
          <a:off x="0" y="0"/>
          <a:ext cx="0" cy="0"/>
          <a:chOff x="0" y="0"/>
          <a:chExt cx="0" cy="0"/>
        </a:xfrm>
      </p:grpSpPr>
      <p:sp>
        <p:nvSpPr>
          <p:cNvPr id="8" name="Rectangle 7"/>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44" name="Platshållare för bild 10"/>
          <p:cNvSpPr>
            <a:spLocks noGrp="1"/>
          </p:cNvSpPr>
          <p:nvPr>
            <p:ph type="pic" sz="quarter" idx="13" hasCustomPrompt="1"/>
          </p:nvPr>
        </p:nvSpPr>
        <p:spPr>
          <a:xfrm>
            <a:off x="2107234" y="2540662"/>
            <a:ext cx="1756599" cy="1756599"/>
          </a:xfrm>
          <a:prstGeom prst="ellipse">
            <a:avLst/>
          </a:prstGeom>
        </p:spPr>
        <p:txBody>
          <a:bodyPr>
            <a:normAutofit/>
          </a:bodyPr>
          <a:lstStyle>
            <a:lvl1pPr marL="0" indent="0">
              <a:buNone/>
              <a:defRPr sz="800"/>
            </a:lvl1pPr>
          </a:lstStyle>
          <a:p>
            <a:r>
              <a:rPr lang="en-US" noProof="0" dirty="0"/>
              <a:t> </a:t>
            </a:r>
          </a:p>
        </p:txBody>
      </p:sp>
      <p:sp>
        <p:nvSpPr>
          <p:cNvPr id="45" name="Platshållare för bild 10"/>
          <p:cNvSpPr>
            <a:spLocks noGrp="1"/>
          </p:cNvSpPr>
          <p:nvPr>
            <p:ph type="pic" sz="quarter" idx="14" hasCustomPrompt="1"/>
          </p:nvPr>
        </p:nvSpPr>
        <p:spPr>
          <a:xfrm>
            <a:off x="5206143" y="2540662"/>
            <a:ext cx="1756599" cy="1756599"/>
          </a:xfrm>
          <a:prstGeom prst="ellipse">
            <a:avLst/>
          </a:prstGeom>
        </p:spPr>
        <p:txBody>
          <a:bodyPr>
            <a:normAutofit/>
          </a:bodyPr>
          <a:lstStyle>
            <a:lvl1pPr marL="0" indent="0">
              <a:buNone/>
              <a:defRPr sz="800"/>
            </a:lvl1pPr>
          </a:lstStyle>
          <a:p>
            <a:r>
              <a:rPr lang="en-US" noProof="0" dirty="0"/>
              <a:t> </a:t>
            </a:r>
          </a:p>
        </p:txBody>
      </p:sp>
      <p:sp>
        <p:nvSpPr>
          <p:cNvPr id="46" name="Platshållare för bild 10"/>
          <p:cNvSpPr>
            <a:spLocks noGrp="1"/>
          </p:cNvSpPr>
          <p:nvPr>
            <p:ph type="pic" sz="quarter" idx="15" hasCustomPrompt="1"/>
          </p:nvPr>
        </p:nvSpPr>
        <p:spPr>
          <a:xfrm>
            <a:off x="8266192" y="2540662"/>
            <a:ext cx="1756599" cy="1756599"/>
          </a:xfrm>
          <a:prstGeom prst="ellipse">
            <a:avLst/>
          </a:prstGeom>
        </p:spPr>
        <p:txBody>
          <a:bodyPr>
            <a:normAutofit/>
          </a:bodyPr>
          <a:lstStyle>
            <a:lvl1pPr marL="0" indent="0">
              <a:buNone/>
              <a:defRPr sz="800"/>
            </a:lvl1pPr>
          </a:lstStyle>
          <a:p>
            <a:r>
              <a:rPr lang="en-US" noProof="0" dirty="0"/>
              <a:t> </a:t>
            </a:r>
          </a:p>
        </p:txBody>
      </p:sp>
      <p:sp>
        <p:nvSpPr>
          <p:cNvPr id="3" name="Title 2"/>
          <p:cNvSpPr>
            <a:spLocks noGrp="1"/>
          </p:cNvSpPr>
          <p:nvPr>
            <p:ph type="title" hasCustomPrompt="1"/>
          </p:nvPr>
        </p:nvSpPr>
        <p:spPr>
          <a:xfrm>
            <a:off x="571050" y="1636953"/>
            <a:ext cx="11025900" cy="556114"/>
          </a:xfrm>
        </p:spPr>
        <p:txBody>
          <a:bodyPr/>
          <a:lstStyle>
            <a:lvl1pPr algn="ctr">
              <a:defRPr/>
            </a:lvl1pPr>
          </a:lstStyle>
          <a:p>
            <a:r>
              <a:rPr lang="en-US" noProof="0" dirty="0"/>
              <a:t>Click to edit master title</a:t>
            </a:r>
          </a:p>
        </p:txBody>
      </p:sp>
      <p:sp>
        <p:nvSpPr>
          <p:cNvPr id="48" name="Text Placeholder 15"/>
          <p:cNvSpPr>
            <a:spLocks noGrp="1"/>
          </p:cNvSpPr>
          <p:nvPr>
            <p:ph type="body" sz="quarter" idx="17" hasCustomPrompt="1"/>
          </p:nvPr>
        </p:nvSpPr>
        <p:spPr>
          <a:xfrm>
            <a:off x="16764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1" name="Text Placeholder 15"/>
          <p:cNvSpPr>
            <a:spLocks noGrp="1"/>
          </p:cNvSpPr>
          <p:nvPr>
            <p:ph type="body" sz="quarter" idx="18" hasCustomPrompt="1"/>
          </p:nvPr>
        </p:nvSpPr>
        <p:spPr>
          <a:xfrm>
            <a:off x="47752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2" name="Text Placeholder 15"/>
          <p:cNvSpPr>
            <a:spLocks noGrp="1"/>
          </p:cNvSpPr>
          <p:nvPr>
            <p:ph type="body" sz="quarter" idx="19" hasCustomPrompt="1"/>
          </p:nvPr>
        </p:nvSpPr>
        <p:spPr>
          <a:xfrm>
            <a:off x="47752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3" name="Text Placeholder 15"/>
          <p:cNvSpPr>
            <a:spLocks noGrp="1"/>
          </p:cNvSpPr>
          <p:nvPr>
            <p:ph type="body" sz="quarter" idx="20" hasCustomPrompt="1"/>
          </p:nvPr>
        </p:nvSpPr>
        <p:spPr>
          <a:xfrm>
            <a:off x="78359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4" name="Text Placeholder 15"/>
          <p:cNvSpPr>
            <a:spLocks noGrp="1"/>
          </p:cNvSpPr>
          <p:nvPr>
            <p:ph type="body" sz="quarter" idx="21" hasCustomPrompt="1"/>
          </p:nvPr>
        </p:nvSpPr>
        <p:spPr>
          <a:xfrm>
            <a:off x="78359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Tree>
    <p:extLst>
      <p:ext uri="{BB962C8B-B14F-4D97-AF65-F5344CB8AC3E}">
        <p14:creationId xmlns:p14="http://schemas.microsoft.com/office/powerpoint/2010/main" val="30183232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re viktiga punkter med bild">
    <p:spTree>
      <p:nvGrpSpPr>
        <p:cNvPr id="1" name=""/>
        <p:cNvGrpSpPr/>
        <p:nvPr/>
      </p:nvGrpSpPr>
      <p:grpSpPr>
        <a:xfrm>
          <a:off x="0" y="0"/>
          <a:ext cx="0" cy="0"/>
          <a:chOff x="0" y="0"/>
          <a:chExt cx="0" cy="0"/>
        </a:xfrm>
      </p:grpSpPr>
      <p:sp>
        <p:nvSpPr>
          <p:cNvPr id="17" name="Rectangle 16"/>
          <p:cNvSpPr/>
          <p:nvPr userDrawn="1"/>
        </p:nvSpPr>
        <p:spPr>
          <a:xfrm>
            <a:off x="0" y="0"/>
            <a:ext cx="12192000" cy="6870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13"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 name="Oval 1"/>
          <p:cNvSpPr/>
          <p:nvPr userDrawn="1"/>
        </p:nvSpPr>
        <p:spPr>
          <a:xfrm>
            <a:off x="2107234"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Oval 24"/>
          <p:cNvSpPr/>
          <p:nvPr userDrawn="1"/>
        </p:nvSpPr>
        <p:spPr>
          <a:xfrm>
            <a:off x="5206143"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Oval 25"/>
          <p:cNvSpPr/>
          <p:nvPr userDrawn="1"/>
        </p:nvSpPr>
        <p:spPr>
          <a:xfrm>
            <a:off x="8266192" y="2540662"/>
            <a:ext cx="1756599" cy="1756599"/>
          </a:xfrm>
          <a:prstGeom prst="ellipse">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Platshållare för bild 10"/>
          <p:cNvSpPr>
            <a:spLocks noGrp="1"/>
          </p:cNvSpPr>
          <p:nvPr>
            <p:ph type="pic" sz="quarter" idx="17" hasCustomPrompt="1"/>
          </p:nvPr>
        </p:nvSpPr>
        <p:spPr>
          <a:xfrm>
            <a:off x="2107234" y="2540662"/>
            <a:ext cx="1756599" cy="1756599"/>
          </a:xfrm>
          <a:prstGeom prst="ellipse">
            <a:avLst/>
          </a:prstGeom>
        </p:spPr>
        <p:txBody>
          <a:bodyPr>
            <a:normAutofit/>
          </a:bodyPr>
          <a:lstStyle>
            <a:lvl1pPr marL="0" indent="0">
              <a:buNone/>
              <a:defRPr sz="800"/>
            </a:lvl1pPr>
          </a:lstStyle>
          <a:p>
            <a:r>
              <a:rPr lang="en-US" noProof="0" dirty="0"/>
              <a:t> </a:t>
            </a:r>
          </a:p>
        </p:txBody>
      </p:sp>
      <p:sp>
        <p:nvSpPr>
          <p:cNvPr id="15" name="Platshållare för bild 10"/>
          <p:cNvSpPr>
            <a:spLocks noGrp="1"/>
          </p:cNvSpPr>
          <p:nvPr>
            <p:ph type="pic" sz="quarter" idx="14" hasCustomPrompt="1"/>
          </p:nvPr>
        </p:nvSpPr>
        <p:spPr>
          <a:xfrm>
            <a:off x="5206143" y="2540662"/>
            <a:ext cx="1756599" cy="1756599"/>
          </a:xfrm>
          <a:prstGeom prst="ellipse">
            <a:avLst/>
          </a:prstGeom>
        </p:spPr>
        <p:txBody>
          <a:bodyPr>
            <a:normAutofit/>
          </a:bodyPr>
          <a:lstStyle>
            <a:lvl1pPr marL="0" indent="0">
              <a:buNone/>
              <a:defRPr sz="800"/>
            </a:lvl1pPr>
          </a:lstStyle>
          <a:p>
            <a:r>
              <a:rPr lang="en-US" noProof="0" dirty="0"/>
              <a:t> </a:t>
            </a:r>
          </a:p>
        </p:txBody>
      </p:sp>
      <p:sp>
        <p:nvSpPr>
          <p:cNvPr id="16" name="Platshållare för bild 10"/>
          <p:cNvSpPr>
            <a:spLocks noGrp="1"/>
          </p:cNvSpPr>
          <p:nvPr>
            <p:ph type="pic" sz="quarter" idx="15" hasCustomPrompt="1"/>
          </p:nvPr>
        </p:nvSpPr>
        <p:spPr>
          <a:xfrm>
            <a:off x="8266192" y="2540662"/>
            <a:ext cx="1756599" cy="1756599"/>
          </a:xfrm>
          <a:prstGeom prst="ellipse">
            <a:avLst/>
          </a:prstGeom>
        </p:spPr>
        <p:txBody>
          <a:bodyPr>
            <a:normAutofit/>
          </a:bodyPr>
          <a:lstStyle>
            <a:lvl1pPr marL="0" indent="0">
              <a:buNone/>
              <a:defRPr sz="800"/>
            </a:lvl1pPr>
          </a:lstStyle>
          <a:p>
            <a:r>
              <a:rPr lang="en-US" noProof="0" dirty="0"/>
              <a:t> </a:t>
            </a:r>
          </a:p>
        </p:txBody>
      </p:sp>
      <p:sp>
        <p:nvSpPr>
          <p:cNvPr id="19" name="Title 2"/>
          <p:cNvSpPr>
            <a:spLocks noGrp="1"/>
          </p:cNvSpPr>
          <p:nvPr>
            <p:ph type="title" hasCustomPrompt="1"/>
          </p:nvPr>
        </p:nvSpPr>
        <p:spPr>
          <a:xfrm>
            <a:off x="571050" y="1636953"/>
            <a:ext cx="11025900" cy="556114"/>
          </a:xfrm>
        </p:spPr>
        <p:txBody>
          <a:bodyPr/>
          <a:lstStyle>
            <a:lvl1pPr algn="ctr">
              <a:defRPr>
                <a:solidFill>
                  <a:schemeClr val="bg1"/>
                </a:solidFill>
              </a:defRPr>
            </a:lvl1pPr>
          </a:lstStyle>
          <a:p>
            <a:r>
              <a:rPr lang="en-US" noProof="0" dirty="0"/>
              <a:t>Click to edit master title</a:t>
            </a:r>
          </a:p>
        </p:txBody>
      </p:sp>
      <p:sp>
        <p:nvSpPr>
          <p:cNvPr id="20" name="Text Placeholder 15"/>
          <p:cNvSpPr>
            <a:spLocks noGrp="1"/>
          </p:cNvSpPr>
          <p:nvPr>
            <p:ph type="body" sz="quarter" idx="18" hasCustomPrompt="1"/>
          </p:nvPr>
        </p:nvSpPr>
        <p:spPr>
          <a:xfrm>
            <a:off x="16764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1" name="Text Placeholder 15"/>
          <p:cNvSpPr>
            <a:spLocks noGrp="1"/>
          </p:cNvSpPr>
          <p:nvPr>
            <p:ph type="body" sz="quarter" idx="19" hasCustomPrompt="1"/>
          </p:nvPr>
        </p:nvSpPr>
        <p:spPr>
          <a:xfrm>
            <a:off x="47752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2" name="Text Placeholder 15"/>
          <p:cNvSpPr>
            <a:spLocks noGrp="1"/>
          </p:cNvSpPr>
          <p:nvPr>
            <p:ph type="body" sz="quarter" idx="20" hasCustomPrompt="1"/>
          </p:nvPr>
        </p:nvSpPr>
        <p:spPr>
          <a:xfrm>
            <a:off x="47752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3" name="Text Placeholder 15"/>
          <p:cNvSpPr>
            <a:spLocks noGrp="1"/>
          </p:cNvSpPr>
          <p:nvPr>
            <p:ph type="body" sz="quarter" idx="21" hasCustomPrompt="1"/>
          </p:nvPr>
        </p:nvSpPr>
        <p:spPr>
          <a:xfrm>
            <a:off x="7835900" y="4696643"/>
            <a:ext cx="2653191" cy="275958"/>
          </a:xfrm>
        </p:spPr>
        <p:txBody>
          <a:bodyPr anchor="t"/>
          <a:lstStyle>
            <a:lvl1pPr marL="0" indent="0" algn="ctr">
              <a:lnSpc>
                <a:spcPct val="100000"/>
              </a:lnSpc>
              <a:buNone/>
              <a:defRPr sz="1200" b="1" cap="all" spc="3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24" name="Text Placeholder 15"/>
          <p:cNvSpPr>
            <a:spLocks noGrp="1"/>
          </p:cNvSpPr>
          <p:nvPr>
            <p:ph type="body" sz="quarter" idx="22" hasCustomPrompt="1"/>
          </p:nvPr>
        </p:nvSpPr>
        <p:spPr>
          <a:xfrm>
            <a:off x="7835900" y="4990780"/>
            <a:ext cx="2653191" cy="838520"/>
          </a:xfrm>
        </p:spPr>
        <p:txBody>
          <a:bodyPr anchor="t"/>
          <a:lstStyle>
            <a:lvl1pPr marL="0" indent="0" algn="ctr">
              <a:lnSpc>
                <a:spcPct val="100000"/>
              </a:lnSpc>
              <a:buNone/>
              <a:defRPr sz="1200" b="0" spc="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Tree>
    <p:extLst>
      <p:ext uri="{BB962C8B-B14F-4D97-AF65-F5344CB8AC3E}">
        <p14:creationId xmlns:p14="http://schemas.microsoft.com/office/powerpoint/2010/main" val="20797273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e viktiga punkter med siffror">
    <p:spTree>
      <p:nvGrpSpPr>
        <p:cNvPr id="1" name=""/>
        <p:cNvGrpSpPr/>
        <p:nvPr/>
      </p:nvGrpSpPr>
      <p:grpSpPr>
        <a:xfrm>
          <a:off x="0" y="0"/>
          <a:ext cx="0" cy="0"/>
          <a:chOff x="0" y="0"/>
          <a:chExt cx="0" cy="0"/>
        </a:xfrm>
      </p:grpSpPr>
      <p:sp>
        <p:nvSpPr>
          <p:cNvPr id="8" name="Rectangle 7"/>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Text Placeholder 15"/>
          <p:cNvSpPr>
            <a:spLocks noGrp="1"/>
          </p:cNvSpPr>
          <p:nvPr>
            <p:ph type="body" sz="quarter" idx="16" hasCustomPrompt="1"/>
          </p:nvPr>
        </p:nvSpPr>
        <p:spPr>
          <a:xfrm>
            <a:off x="16764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3" name="Title 2"/>
          <p:cNvSpPr>
            <a:spLocks noGrp="1"/>
          </p:cNvSpPr>
          <p:nvPr>
            <p:ph type="title" hasCustomPrompt="1"/>
          </p:nvPr>
        </p:nvSpPr>
        <p:spPr>
          <a:xfrm>
            <a:off x="571050" y="1636953"/>
            <a:ext cx="11025900" cy="556114"/>
          </a:xfrm>
        </p:spPr>
        <p:txBody>
          <a:bodyPr/>
          <a:lstStyle>
            <a:lvl1pPr algn="ctr">
              <a:defRPr/>
            </a:lvl1pPr>
          </a:lstStyle>
          <a:p>
            <a:r>
              <a:rPr lang="en-US" noProof="0" dirty="0"/>
              <a:t>Click to edit master title</a:t>
            </a:r>
          </a:p>
        </p:txBody>
      </p:sp>
      <p:sp>
        <p:nvSpPr>
          <p:cNvPr id="48" name="Text Placeholder 15"/>
          <p:cNvSpPr>
            <a:spLocks noGrp="1"/>
          </p:cNvSpPr>
          <p:nvPr>
            <p:ph type="body" sz="quarter" idx="17" hasCustomPrompt="1"/>
          </p:nvPr>
        </p:nvSpPr>
        <p:spPr>
          <a:xfrm>
            <a:off x="16764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1" name="Text Placeholder 15"/>
          <p:cNvSpPr>
            <a:spLocks noGrp="1"/>
          </p:cNvSpPr>
          <p:nvPr>
            <p:ph type="body" sz="quarter" idx="18" hasCustomPrompt="1"/>
          </p:nvPr>
        </p:nvSpPr>
        <p:spPr>
          <a:xfrm>
            <a:off x="47752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2" name="Text Placeholder 15"/>
          <p:cNvSpPr>
            <a:spLocks noGrp="1"/>
          </p:cNvSpPr>
          <p:nvPr>
            <p:ph type="body" sz="quarter" idx="19" hasCustomPrompt="1"/>
          </p:nvPr>
        </p:nvSpPr>
        <p:spPr>
          <a:xfrm>
            <a:off x="47752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3" name="Text Placeholder 15"/>
          <p:cNvSpPr>
            <a:spLocks noGrp="1"/>
          </p:cNvSpPr>
          <p:nvPr>
            <p:ph type="body" sz="quarter" idx="20" hasCustomPrompt="1"/>
          </p:nvPr>
        </p:nvSpPr>
        <p:spPr>
          <a:xfrm>
            <a:off x="7835900" y="4696643"/>
            <a:ext cx="2653191" cy="275958"/>
          </a:xfrm>
        </p:spPr>
        <p:txBody>
          <a:bodyPr anchor="t"/>
          <a:lstStyle>
            <a:lvl1pPr marL="0" indent="0" algn="ctr">
              <a:lnSpc>
                <a:spcPct val="100000"/>
              </a:lnSpc>
              <a:buNone/>
              <a:defRPr sz="1200" b="1"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54" name="Text Placeholder 15"/>
          <p:cNvSpPr>
            <a:spLocks noGrp="1"/>
          </p:cNvSpPr>
          <p:nvPr>
            <p:ph type="body" sz="quarter" idx="21" hasCustomPrompt="1"/>
          </p:nvPr>
        </p:nvSpPr>
        <p:spPr>
          <a:xfrm>
            <a:off x="7835900" y="4990780"/>
            <a:ext cx="2653191" cy="838520"/>
          </a:xfrm>
        </p:spPr>
        <p:txBody>
          <a:bodyPr anchor="t"/>
          <a:lstStyle>
            <a:lvl1pPr marL="0" indent="0" algn="ctr">
              <a:lnSpc>
                <a:spcPct val="100000"/>
              </a:lnSpc>
              <a:buNone/>
              <a:defRPr sz="1200" b="0" spc="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subtitle</a:t>
            </a:r>
          </a:p>
        </p:txBody>
      </p:sp>
      <p:sp>
        <p:nvSpPr>
          <p:cNvPr id="13" name="Oval 12"/>
          <p:cNvSpPr/>
          <p:nvPr userDrawn="1"/>
        </p:nvSpPr>
        <p:spPr>
          <a:xfrm>
            <a:off x="2111370"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1</a:t>
            </a:r>
          </a:p>
        </p:txBody>
      </p:sp>
      <p:sp>
        <p:nvSpPr>
          <p:cNvPr id="14" name="Oval 13"/>
          <p:cNvSpPr/>
          <p:nvPr userDrawn="1"/>
        </p:nvSpPr>
        <p:spPr>
          <a:xfrm>
            <a:off x="5201929"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2</a:t>
            </a:r>
          </a:p>
        </p:txBody>
      </p:sp>
      <p:sp>
        <p:nvSpPr>
          <p:cNvPr id="15" name="Oval 14"/>
          <p:cNvSpPr/>
          <p:nvPr userDrawn="1"/>
        </p:nvSpPr>
        <p:spPr>
          <a:xfrm>
            <a:off x="8219392" y="2530609"/>
            <a:ext cx="1752600" cy="1752600"/>
          </a:xfrm>
          <a:prstGeom prst="ellipse">
            <a:avLst/>
          </a:prstGeom>
          <a:solidFill>
            <a:srgbClr val="FFFFFF"/>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noProof="0" dirty="0">
                <a:solidFill>
                  <a:schemeClr val="accent2"/>
                </a:solidFill>
                <a:latin typeface="AvenirNext LT Pro" charset="0"/>
                <a:ea typeface="AvenirNext LT Pro" charset="0"/>
                <a:cs typeface="AvenirNext LT Pro" charset="0"/>
              </a:rPr>
              <a:t>3</a:t>
            </a:r>
          </a:p>
        </p:txBody>
      </p:sp>
    </p:spTree>
    <p:extLst>
      <p:ext uri="{BB962C8B-B14F-4D97-AF65-F5344CB8AC3E}">
        <p14:creationId xmlns:p14="http://schemas.microsoft.com/office/powerpoint/2010/main" val="20478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kärmdump Desktop">
    <p:spTree>
      <p:nvGrpSpPr>
        <p:cNvPr id="1" name=""/>
        <p:cNvGrpSpPr/>
        <p:nvPr/>
      </p:nvGrpSpPr>
      <p:grpSpPr>
        <a:xfrm>
          <a:off x="0" y="0"/>
          <a:ext cx="0" cy="0"/>
          <a:chOff x="0" y="0"/>
          <a:chExt cx="0" cy="0"/>
        </a:xfrm>
      </p:grpSpPr>
      <p:sp>
        <p:nvSpPr>
          <p:cNvPr id="16" name="Rectangle 1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8" name="Group 17"/>
          <p:cNvGrpSpPr/>
          <p:nvPr userDrawn="1"/>
        </p:nvGrpSpPr>
        <p:grpSpPr>
          <a:xfrm>
            <a:off x="2094573" y="2509899"/>
            <a:ext cx="8002853" cy="4348101"/>
            <a:chOff x="2094573" y="2571684"/>
            <a:chExt cx="8002853" cy="4348101"/>
          </a:xfrm>
        </p:grpSpPr>
        <p:sp>
          <p:nvSpPr>
            <p:cNvPr id="19" name="Rectangle 18"/>
            <p:cNvSpPr/>
            <p:nvPr/>
          </p:nvSpPr>
          <p:spPr>
            <a:xfrm>
              <a:off x="2094573" y="2872287"/>
              <a:ext cx="8002853" cy="4047498"/>
            </a:xfrm>
            <a:prstGeom prst="rect">
              <a:avLst/>
            </a:prstGeom>
            <a:solidFill>
              <a:schemeClr val="bg1"/>
            </a:solidFill>
            <a:ln>
              <a:noFill/>
            </a:ln>
            <a:effectLst>
              <a:outerShdw blurRad="673100" sx="101000" sy="101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0" name="Group 19"/>
            <p:cNvGrpSpPr/>
            <p:nvPr/>
          </p:nvGrpSpPr>
          <p:grpSpPr>
            <a:xfrm>
              <a:off x="2094573" y="2571684"/>
              <a:ext cx="8002853" cy="299550"/>
              <a:chOff x="2094573" y="801202"/>
              <a:chExt cx="8002853" cy="299550"/>
            </a:xfrm>
          </p:grpSpPr>
          <p:sp>
            <p:nvSpPr>
              <p:cNvPr id="21" name="Rektangel med rundade hörn på samma sida 26"/>
              <p:cNvSpPr/>
              <p:nvPr/>
            </p:nvSpPr>
            <p:spPr>
              <a:xfrm>
                <a:off x="2094573" y="801202"/>
                <a:ext cx="8002853" cy="299550"/>
              </a:xfrm>
              <a:prstGeom prst="round2Same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2" name="Grupp 30"/>
              <p:cNvGrpSpPr/>
              <p:nvPr/>
            </p:nvGrpSpPr>
            <p:grpSpPr>
              <a:xfrm>
                <a:off x="2281561" y="910086"/>
                <a:ext cx="449805" cy="81782"/>
                <a:chOff x="1123627" y="871780"/>
                <a:chExt cx="340963" cy="61993"/>
              </a:xfrm>
            </p:grpSpPr>
            <p:sp>
              <p:nvSpPr>
                <p:cNvPr id="24" name="Ellips 27"/>
                <p:cNvSpPr/>
                <p:nvPr/>
              </p:nvSpPr>
              <p:spPr>
                <a:xfrm>
                  <a:off x="1123627" y="871780"/>
                  <a:ext cx="61993" cy="61993"/>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Ellips 28"/>
                <p:cNvSpPr/>
                <p:nvPr/>
              </p:nvSpPr>
              <p:spPr>
                <a:xfrm>
                  <a:off x="1263112" y="871780"/>
                  <a:ext cx="61993" cy="619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6" name="Ellips 29"/>
                <p:cNvSpPr/>
                <p:nvPr/>
              </p:nvSpPr>
              <p:spPr>
                <a:xfrm>
                  <a:off x="1402597" y="871780"/>
                  <a:ext cx="61993" cy="6199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cxnSp>
            <p:nvCxnSpPr>
              <p:cNvPr id="23" name="Rak 34"/>
              <p:cNvCxnSpPr/>
              <p:nvPr/>
            </p:nvCxnSpPr>
            <p:spPr>
              <a:xfrm>
                <a:off x="2094573" y="1100752"/>
                <a:ext cx="8002853" cy="0"/>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hasCustomPrompt="1"/>
          </p:nvPr>
        </p:nvSpPr>
        <p:spPr>
          <a:xfrm>
            <a:off x="571050" y="1657017"/>
            <a:ext cx="11025900" cy="556114"/>
          </a:xfrm>
        </p:spPr>
        <p:txBody>
          <a:bodyPr/>
          <a:lstStyle>
            <a:lvl1pPr algn="ctr">
              <a:defRPr/>
            </a:lvl1pPr>
          </a:lstStyle>
          <a:p>
            <a:r>
              <a:rPr lang="en-US" noProof="0" dirty="0"/>
              <a:t>Click to edit master title</a:t>
            </a:r>
          </a:p>
        </p:txBody>
      </p:sp>
      <p:sp>
        <p:nvSpPr>
          <p:cNvPr id="28" name="Text Placeholder 15"/>
          <p:cNvSpPr>
            <a:spLocks noGrp="1"/>
          </p:cNvSpPr>
          <p:nvPr>
            <p:ph type="body" sz="quarter" idx="14" hasCustomPrompt="1"/>
          </p:nvPr>
        </p:nvSpPr>
        <p:spPr>
          <a:xfrm>
            <a:off x="3145822" y="1097747"/>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9" name="Text Placeholder 15"/>
          <p:cNvSpPr>
            <a:spLocks noGrp="1"/>
          </p:cNvSpPr>
          <p:nvPr>
            <p:ph type="body" sz="quarter" idx="15" hasCustomPrompt="1"/>
          </p:nvPr>
        </p:nvSpPr>
        <p:spPr>
          <a:xfrm>
            <a:off x="3145822" y="1329899"/>
            <a:ext cx="5854422" cy="276130"/>
          </a:xfrm>
        </p:spPr>
        <p:txBody>
          <a:bodyPr anchor="b"/>
          <a:lstStyle>
            <a:lvl1pPr marL="0" indent="0" algn="ctr">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5" name="Picture Placeholder 4"/>
          <p:cNvSpPr>
            <a:spLocks noGrp="1"/>
          </p:cNvSpPr>
          <p:nvPr>
            <p:ph type="pic" sz="quarter" idx="16"/>
          </p:nvPr>
        </p:nvSpPr>
        <p:spPr>
          <a:xfrm>
            <a:off x="2094573" y="2813505"/>
            <a:ext cx="8003515" cy="4044495"/>
          </a:xfrm>
        </p:spPr>
        <p:txBody>
          <a:bodyPr/>
          <a:lstStyle/>
          <a:p>
            <a:r>
              <a:rPr lang="sv-SE" noProof="0"/>
              <a:t>Klicka på ikonen för att lägga till en bild</a:t>
            </a:r>
            <a:endParaRPr lang="en-US" noProof="0" dirty="0"/>
          </a:p>
        </p:txBody>
      </p:sp>
    </p:spTree>
    <p:extLst>
      <p:ext uri="{BB962C8B-B14F-4D97-AF65-F5344CB8AC3E}">
        <p14:creationId xmlns:p14="http://schemas.microsoft.com/office/powerpoint/2010/main" val="145268958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kärmdump Mobil">
    <p:spTree>
      <p:nvGrpSpPr>
        <p:cNvPr id="1" name=""/>
        <p:cNvGrpSpPr/>
        <p:nvPr/>
      </p:nvGrpSpPr>
      <p:grpSpPr>
        <a:xfrm>
          <a:off x="0" y="0"/>
          <a:ext cx="0" cy="0"/>
          <a:chOff x="0" y="0"/>
          <a:chExt cx="0" cy="0"/>
        </a:xfrm>
      </p:grpSpPr>
      <p:sp>
        <p:nvSpPr>
          <p:cNvPr id="16" name="Rectangle 1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p:cNvSpPr>
            <a:spLocks noGrp="1"/>
          </p:cNvSpPr>
          <p:nvPr>
            <p:ph type="title" hasCustomPrompt="1"/>
          </p:nvPr>
        </p:nvSpPr>
        <p:spPr>
          <a:xfrm>
            <a:off x="571050" y="1657017"/>
            <a:ext cx="11025900" cy="556114"/>
          </a:xfrm>
        </p:spPr>
        <p:txBody>
          <a:bodyPr/>
          <a:lstStyle>
            <a:lvl1pPr algn="ctr">
              <a:defRPr/>
            </a:lvl1pPr>
          </a:lstStyle>
          <a:p>
            <a:r>
              <a:rPr lang="en-US" noProof="0" dirty="0"/>
              <a:t>Click to edit master title</a:t>
            </a:r>
          </a:p>
        </p:txBody>
      </p:sp>
      <p:sp>
        <p:nvSpPr>
          <p:cNvPr id="28" name="Text Placeholder 15"/>
          <p:cNvSpPr>
            <a:spLocks noGrp="1"/>
          </p:cNvSpPr>
          <p:nvPr>
            <p:ph type="body" sz="quarter" idx="14" hasCustomPrompt="1"/>
          </p:nvPr>
        </p:nvSpPr>
        <p:spPr>
          <a:xfrm>
            <a:off x="3145822" y="1097747"/>
            <a:ext cx="5854422" cy="276130"/>
          </a:xfrm>
        </p:spPr>
        <p:txBody>
          <a:bodyPr anchor="b"/>
          <a:lstStyle>
            <a:lvl1pPr marL="0" indent="0" algn="ctr">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29" name="Text Placeholder 15"/>
          <p:cNvSpPr>
            <a:spLocks noGrp="1"/>
          </p:cNvSpPr>
          <p:nvPr>
            <p:ph type="body" sz="quarter" idx="15" hasCustomPrompt="1"/>
          </p:nvPr>
        </p:nvSpPr>
        <p:spPr>
          <a:xfrm>
            <a:off x="3145822" y="1329899"/>
            <a:ext cx="5854422" cy="276130"/>
          </a:xfrm>
        </p:spPr>
        <p:txBody>
          <a:bodyPr anchor="b"/>
          <a:lstStyle>
            <a:lvl1pPr marL="0" indent="0" algn="ctr">
              <a:buNone/>
              <a:defRPr sz="1000" b="0" cap="all" spc="3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grpSp>
        <p:nvGrpSpPr>
          <p:cNvPr id="17" name="Telefon"/>
          <p:cNvGrpSpPr/>
          <p:nvPr userDrawn="1"/>
        </p:nvGrpSpPr>
        <p:grpSpPr>
          <a:xfrm>
            <a:off x="4853320" y="2519561"/>
            <a:ext cx="2404896" cy="4902613"/>
            <a:chOff x="8226170" y="803708"/>
            <a:chExt cx="2810577" cy="5729632"/>
          </a:xfrm>
        </p:grpSpPr>
        <p:sp>
          <p:nvSpPr>
            <p:cNvPr id="27" name="Frihandsfigur 14"/>
            <p:cNvSpPr/>
            <p:nvPr/>
          </p:nvSpPr>
          <p:spPr>
            <a:xfrm>
              <a:off x="8226170" y="803708"/>
              <a:ext cx="2810577" cy="5729632"/>
            </a:xfrm>
            <a:custGeom>
              <a:avLst/>
              <a:gdLst>
                <a:gd name="connsiteX0" fmla="*/ 163288 w 2810577"/>
                <a:gd name="connsiteY0" fmla="*/ 650442 h 5729632"/>
                <a:gd name="connsiteX1" fmla="*/ 163288 w 2810577"/>
                <a:gd name="connsiteY1" fmla="*/ 5078442 h 5729632"/>
                <a:gd name="connsiteX2" fmla="*/ 2647288 w 2810577"/>
                <a:gd name="connsiteY2" fmla="*/ 5078442 h 5729632"/>
                <a:gd name="connsiteX3" fmla="*/ 2647288 w 2810577"/>
                <a:gd name="connsiteY3" fmla="*/ 650442 h 5729632"/>
                <a:gd name="connsiteX4" fmla="*/ 352924 w 2810577"/>
                <a:gd name="connsiteY4" fmla="*/ 0 h 5729632"/>
                <a:gd name="connsiteX5" fmla="*/ 2457653 w 2810577"/>
                <a:gd name="connsiteY5" fmla="*/ 0 h 5729632"/>
                <a:gd name="connsiteX6" fmla="*/ 2810577 w 2810577"/>
                <a:gd name="connsiteY6" fmla="*/ 352924 h 5729632"/>
                <a:gd name="connsiteX7" fmla="*/ 2810577 w 2810577"/>
                <a:gd name="connsiteY7" fmla="*/ 5376708 h 5729632"/>
                <a:gd name="connsiteX8" fmla="*/ 2457653 w 2810577"/>
                <a:gd name="connsiteY8" fmla="*/ 5729632 h 5729632"/>
                <a:gd name="connsiteX9" fmla="*/ 352924 w 2810577"/>
                <a:gd name="connsiteY9" fmla="*/ 5729632 h 5729632"/>
                <a:gd name="connsiteX10" fmla="*/ 0 w 2810577"/>
                <a:gd name="connsiteY10" fmla="*/ 5376708 h 5729632"/>
                <a:gd name="connsiteX11" fmla="*/ 0 w 2810577"/>
                <a:gd name="connsiteY11" fmla="*/ 352924 h 5729632"/>
                <a:gd name="connsiteX12" fmla="*/ 352924 w 2810577"/>
                <a:gd name="connsiteY12" fmla="*/ 0 h 572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0577" h="5729632">
                  <a:moveTo>
                    <a:pt x="163288" y="650442"/>
                  </a:moveTo>
                  <a:lnTo>
                    <a:pt x="163288" y="5078442"/>
                  </a:lnTo>
                  <a:lnTo>
                    <a:pt x="2647288" y="5078442"/>
                  </a:lnTo>
                  <a:lnTo>
                    <a:pt x="2647288" y="650442"/>
                  </a:lnTo>
                  <a:close/>
                  <a:moveTo>
                    <a:pt x="352924" y="0"/>
                  </a:moveTo>
                  <a:lnTo>
                    <a:pt x="2457653" y="0"/>
                  </a:lnTo>
                  <a:cubicBezTo>
                    <a:pt x="2652568" y="0"/>
                    <a:pt x="2810577" y="158009"/>
                    <a:pt x="2810577" y="352924"/>
                  </a:cubicBezTo>
                  <a:lnTo>
                    <a:pt x="2810577" y="5376708"/>
                  </a:lnTo>
                  <a:cubicBezTo>
                    <a:pt x="2810577" y="5571623"/>
                    <a:pt x="2652568" y="5729632"/>
                    <a:pt x="2457653" y="5729632"/>
                  </a:cubicBezTo>
                  <a:lnTo>
                    <a:pt x="352924" y="5729632"/>
                  </a:lnTo>
                  <a:cubicBezTo>
                    <a:pt x="158009" y="5729632"/>
                    <a:pt x="0" y="5571623"/>
                    <a:pt x="0" y="5376708"/>
                  </a:cubicBezTo>
                  <a:lnTo>
                    <a:pt x="0" y="352924"/>
                  </a:lnTo>
                  <a:cubicBezTo>
                    <a:pt x="0" y="158009"/>
                    <a:pt x="158009" y="0"/>
                    <a:pt x="352924" y="0"/>
                  </a:cubicBezTo>
                  <a:close/>
                </a:path>
              </a:pathLst>
            </a:custGeom>
            <a:gradFill>
              <a:gsLst>
                <a:gs pos="0">
                  <a:schemeClr val="bg1"/>
                </a:gs>
                <a:gs pos="100000">
                  <a:srgbClr val="F8F8F8">
                    <a:lumMod val="74000"/>
                    <a:lumOff val="26000"/>
                  </a:srgbClr>
                </a:gs>
              </a:gsLst>
              <a:lin ang="5400000" scaled="1"/>
            </a:gradFill>
            <a:ln w="22225">
              <a:solidFill>
                <a:schemeClr val="bg1"/>
              </a:solidFill>
              <a:bevel/>
            </a:ln>
            <a:effectLst>
              <a:outerShdw blurRad="63500" dist="50800" dir="6000000" sx="102000" sy="102000" algn="ctr" rotWithShape="0">
                <a:prstClr val="black">
                  <a:alpha val="3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30" name="Hemnapp"/>
            <p:cNvSpPr/>
            <p:nvPr/>
          </p:nvSpPr>
          <p:spPr>
            <a:xfrm>
              <a:off x="9424515" y="6000802"/>
              <a:ext cx="413886" cy="413886"/>
            </a:xfrm>
            <a:prstGeom prst="ellipse">
              <a:avLst/>
            </a:prstGeom>
            <a:solidFill>
              <a:schemeClr val="bg1"/>
            </a:solidFill>
            <a:ln>
              <a:gradFill>
                <a:gsLst>
                  <a:gs pos="100000">
                    <a:schemeClr val="bg1"/>
                  </a:gs>
                  <a:gs pos="0">
                    <a:schemeClr val="bg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Picture Placeholder 3"/>
          <p:cNvSpPr>
            <a:spLocks noGrp="1"/>
          </p:cNvSpPr>
          <p:nvPr>
            <p:ph type="pic" sz="quarter" idx="16"/>
          </p:nvPr>
        </p:nvSpPr>
        <p:spPr>
          <a:xfrm>
            <a:off x="5010150" y="3079750"/>
            <a:ext cx="2092325" cy="3778250"/>
          </a:xfrm>
        </p:spPr>
        <p:txBody>
          <a:bodyPr/>
          <a:lstStyle/>
          <a:p>
            <a:r>
              <a:rPr lang="sv-SE" noProof="0"/>
              <a:t>Klicka på ikonen för att lägga till en bild</a:t>
            </a:r>
            <a:endParaRPr lang="en-US" noProof="0" dirty="0"/>
          </a:p>
        </p:txBody>
      </p:sp>
    </p:spTree>
    <p:extLst>
      <p:ext uri="{BB962C8B-B14F-4D97-AF65-F5344CB8AC3E}">
        <p14:creationId xmlns:p14="http://schemas.microsoft.com/office/powerpoint/2010/main" val="30003015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3/1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bg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3113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3/1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559192" y="6068628"/>
            <a:ext cx="7459394"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p>
        </p:txBody>
      </p:sp>
      <p:sp>
        <p:nvSpPr>
          <p:cNvPr id="13" name="Title 12"/>
          <p:cNvSpPr>
            <a:spLocks noGrp="1"/>
          </p:cNvSpPr>
          <p:nvPr>
            <p:ph type="title" hasCustomPrompt="1"/>
          </p:nvPr>
        </p:nvSpPr>
        <p:spPr>
          <a:xfrm>
            <a:off x="559192" y="3305907"/>
            <a:ext cx="7459394" cy="2278963"/>
          </a:xfrm>
        </p:spPr>
        <p:txBody>
          <a:bodyPr anchor="b"/>
          <a:lstStyle>
            <a:lvl1pPr>
              <a:lnSpc>
                <a:spcPct val="100000"/>
              </a:lnSpc>
              <a:defRPr sz="4000" baseline="0"/>
            </a:lvl1pPr>
          </a:lstStyle>
          <a:p>
            <a:r>
              <a:rPr lang="en-US" noProof="0" dirty="0"/>
              <a:t>Click to edit master title</a:t>
            </a:r>
          </a:p>
        </p:txBody>
      </p:sp>
      <p:sp>
        <p:nvSpPr>
          <p:cNvPr id="16" name="Text Placeholder 15"/>
          <p:cNvSpPr>
            <a:spLocks noGrp="1"/>
          </p:cNvSpPr>
          <p:nvPr>
            <p:ph type="body" sz="quarter" idx="13" hasCustomPrompt="1"/>
          </p:nvPr>
        </p:nvSpPr>
        <p:spPr>
          <a:xfrm>
            <a:off x="558801" y="5803900"/>
            <a:ext cx="7459786"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7" name="Date Placeholder 19"/>
          <p:cNvSpPr>
            <a:spLocks noGrp="1"/>
          </p:cNvSpPr>
          <p:nvPr>
            <p:ph type="dt" sz="half" idx="15"/>
          </p:nvPr>
        </p:nvSpPr>
        <p:spPr>
          <a:xfrm>
            <a:off x="9131100" y="6064596"/>
            <a:ext cx="2573192" cy="252000"/>
          </a:xfrm>
        </p:spPr>
        <p:txBody>
          <a:bodyPr/>
          <a:lstStyle>
            <a:lvl1pPr algn="r">
              <a:defRPr b="1" i="0">
                <a:solidFill>
                  <a:schemeClr val="tx1"/>
                </a:solidFill>
                <a:latin typeface="Avenir Next LT Pro Demi" charset="0"/>
                <a:ea typeface="Avenir Next LT Pro Demi" charset="0"/>
                <a:cs typeface="Avenir Next LT Pro Demi" charset="0"/>
              </a:defRPr>
            </a:lvl1pPr>
          </a:lstStyle>
          <a:p>
            <a:fld id="{CC564DCC-93F6-4626-851E-B7512A158F15}" type="datetimeFigureOut">
              <a:rPr lang="en-US" noProof="0" smtClean="0"/>
              <a:pPr/>
              <a:t>3/12/2018</a:t>
            </a:fld>
            <a:endParaRPr lang="en-US" noProof="0" dirty="0"/>
          </a:p>
        </p:txBody>
      </p:sp>
    </p:spTree>
    <p:extLst>
      <p:ext uri="{BB962C8B-B14F-4D97-AF65-F5344CB8AC3E}">
        <p14:creationId xmlns:p14="http://schemas.microsoft.com/office/powerpoint/2010/main" val="20519590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Rubrikbild egen bild">
    <p:spTree>
      <p:nvGrpSpPr>
        <p:cNvPr id="1" name=""/>
        <p:cNvGrpSpPr/>
        <p:nvPr/>
      </p:nvGrpSpPr>
      <p:grpSpPr>
        <a:xfrm>
          <a:off x="0" y="0"/>
          <a:ext cx="0" cy="0"/>
          <a:chOff x="0" y="0"/>
          <a:chExt cx="0" cy="0"/>
        </a:xfrm>
      </p:grpSpPr>
      <p:sp>
        <p:nvSpPr>
          <p:cNvPr id="17" name="Rectangle 16"/>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sp>
        <p:nvSpPr>
          <p:cNvPr id="14" name="Underrubrik 2"/>
          <p:cNvSpPr>
            <a:spLocks noGrp="1"/>
          </p:cNvSpPr>
          <p:nvPr>
            <p:ph type="subTitle" idx="1" hasCustomPrompt="1"/>
          </p:nvPr>
        </p:nvSpPr>
        <p:spPr>
          <a:xfrm>
            <a:off x="559192" y="6068628"/>
            <a:ext cx="7459394"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p>
        </p:txBody>
      </p:sp>
      <p:sp>
        <p:nvSpPr>
          <p:cNvPr id="15" name="Title 12"/>
          <p:cNvSpPr>
            <a:spLocks noGrp="1"/>
          </p:cNvSpPr>
          <p:nvPr>
            <p:ph type="title" hasCustomPrompt="1"/>
          </p:nvPr>
        </p:nvSpPr>
        <p:spPr>
          <a:xfrm>
            <a:off x="559192" y="3305907"/>
            <a:ext cx="7459394" cy="2278963"/>
          </a:xfrm>
        </p:spPr>
        <p:txBody>
          <a:bodyPr anchor="b"/>
          <a:lstStyle>
            <a:lvl1pPr>
              <a:lnSpc>
                <a:spcPct val="100000"/>
              </a:lnSpc>
              <a:defRPr sz="4000">
                <a:solidFill>
                  <a:schemeClr val="bg1"/>
                </a:solidFill>
              </a:defRPr>
            </a:lvl1pPr>
          </a:lstStyle>
          <a:p>
            <a:r>
              <a:rPr lang="en-US" noProof="0" dirty="0"/>
              <a:t>Click to edit master title</a:t>
            </a:r>
          </a:p>
        </p:txBody>
      </p:sp>
      <p:sp>
        <p:nvSpPr>
          <p:cNvPr id="16" name="Text Placeholder 15"/>
          <p:cNvSpPr>
            <a:spLocks noGrp="1"/>
          </p:cNvSpPr>
          <p:nvPr>
            <p:ph type="body" sz="quarter" idx="14" hasCustomPrompt="1"/>
          </p:nvPr>
        </p:nvSpPr>
        <p:spPr>
          <a:xfrm>
            <a:off x="558801" y="5803900"/>
            <a:ext cx="7459786"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20" name="Date Placeholder 19"/>
          <p:cNvSpPr>
            <a:spLocks noGrp="1"/>
          </p:cNvSpPr>
          <p:nvPr>
            <p:ph type="dt" sz="half" idx="15"/>
          </p:nvPr>
        </p:nvSpPr>
        <p:spPr>
          <a:xfrm>
            <a:off x="9131100" y="6064596"/>
            <a:ext cx="2573192" cy="252000"/>
          </a:xfrm>
        </p:spPr>
        <p:txBody>
          <a:bodyPr/>
          <a:lstStyle>
            <a:lvl1pPr algn="r">
              <a:defRPr b="1" i="0">
                <a:solidFill>
                  <a:schemeClr val="bg1"/>
                </a:solidFill>
                <a:latin typeface="Avenir Next LT Pro Demi" charset="0"/>
                <a:ea typeface="Avenir Next LT Pro Demi" charset="0"/>
                <a:cs typeface="Avenir Next LT Pro Demi" charset="0"/>
              </a:defRPr>
            </a:lvl1pPr>
          </a:lstStyle>
          <a:p>
            <a:fld id="{CC564DCC-93F6-4626-851E-B7512A158F15}" type="datetimeFigureOut">
              <a:rPr lang="en-US" noProof="0" smtClean="0"/>
              <a:pPr/>
              <a:t>3/12/2018</a:t>
            </a:fld>
            <a:endParaRPr lang="en-US" noProof="0" dirty="0"/>
          </a:p>
        </p:txBody>
      </p:sp>
    </p:spTree>
    <p:extLst>
      <p:ext uri="{BB962C8B-B14F-4D97-AF65-F5344CB8AC3E}">
        <p14:creationId xmlns:p14="http://schemas.microsoft.com/office/powerpoint/2010/main" val="24479797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ild med titel">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sp>
        <p:nvSpPr>
          <p:cNvPr id="15" name="Title 12"/>
          <p:cNvSpPr>
            <a:spLocks noGrp="1"/>
          </p:cNvSpPr>
          <p:nvPr>
            <p:ph type="title" hasCustomPrompt="1"/>
          </p:nvPr>
        </p:nvSpPr>
        <p:spPr>
          <a:xfrm>
            <a:off x="559192" y="3305907"/>
            <a:ext cx="7459394" cy="3076698"/>
          </a:xfrm>
        </p:spPr>
        <p:txBody>
          <a:bodyPr anchor="b"/>
          <a:lstStyle>
            <a:lvl1pPr>
              <a:lnSpc>
                <a:spcPct val="100000"/>
              </a:lnSpc>
              <a:defRPr sz="4000">
                <a:solidFill>
                  <a:schemeClr val="bg1"/>
                </a:solidFill>
              </a:defRPr>
            </a:lvl1pPr>
          </a:lstStyle>
          <a:p>
            <a:r>
              <a:rPr lang="en-US" noProof="0" dirty="0"/>
              <a:t>Click to edit master title</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Tree>
    <p:extLst>
      <p:ext uri="{BB962C8B-B14F-4D97-AF65-F5344CB8AC3E}">
        <p14:creationId xmlns:p14="http://schemas.microsoft.com/office/powerpoint/2010/main" val="33471229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Nyckeltal">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559192" y="6068628"/>
            <a:ext cx="9288000"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itle 12"/>
          <p:cNvSpPr>
            <a:spLocks noGrp="1"/>
          </p:cNvSpPr>
          <p:nvPr>
            <p:ph type="title" hasCustomPrompt="1"/>
          </p:nvPr>
        </p:nvSpPr>
        <p:spPr>
          <a:xfrm>
            <a:off x="559192" y="4559300"/>
            <a:ext cx="7459394" cy="1025570"/>
          </a:xfrm>
        </p:spPr>
        <p:txBody>
          <a:bodyPr anchor="b"/>
          <a:lstStyle>
            <a:lvl1pPr>
              <a:lnSpc>
                <a:spcPct val="100000"/>
              </a:lnSpc>
              <a:defRPr sz="3200" baseline="0"/>
            </a:lvl1pPr>
          </a:lstStyle>
          <a:p>
            <a:r>
              <a:rPr lang="en-US" noProof="0" dirty="0"/>
              <a:t>Click to edit master title</a:t>
            </a:r>
          </a:p>
        </p:txBody>
      </p:sp>
      <p:sp>
        <p:nvSpPr>
          <p:cNvPr id="16" name="Text Placeholder 15"/>
          <p:cNvSpPr>
            <a:spLocks noGrp="1"/>
          </p:cNvSpPr>
          <p:nvPr>
            <p:ph type="body" sz="quarter" idx="13" hasCustomPrompt="1"/>
          </p:nvPr>
        </p:nvSpPr>
        <p:spPr>
          <a:xfrm>
            <a:off x="558800" y="5803900"/>
            <a:ext cx="928846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4" name="Text Placeholder 3"/>
          <p:cNvSpPr>
            <a:spLocks noGrp="1"/>
          </p:cNvSpPr>
          <p:nvPr>
            <p:ph type="body" sz="quarter" idx="14" hasCustomPrompt="1"/>
          </p:nvPr>
        </p:nvSpPr>
        <p:spPr>
          <a:xfrm>
            <a:off x="558800" y="2447776"/>
            <a:ext cx="7459663" cy="2390923"/>
          </a:xfrm>
        </p:spPr>
        <p:txBody>
          <a:bodyPr anchor="b"/>
          <a:lstStyle>
            <a:lvl1pPr marL="0" indent="0">
              <a:lnSpc>
                <a:spcPct val="100000"/>
              </a:lnSpc>
              <a:buNone/>
              <a:defRPr sz="14000" b="0" i="0">
                <a:solidFill>
                  <a:schemeClr val="accent2"/>
                </a:solidFill>
                <a:latin typeface="Rockwell Std Light" charset="0"/>
                <a:ea typeface="Rockwell Std Light" charset="0"/>
                <a:cs typeface="Rockwell Std Light" charset="0"/>
              </a:defRPr>
            </a:lvl1pPr>
            <a:lvl2pPr marL="457200" indent="0">
              <a:buNone/>
              <a:defRPr sz="14000"/>
            </a:lvl2pPr>
            <a:lvl3pPr marL="914400" indent="0">
              <a:buNone/>
              <a:defRPr sz="14000"/>
            </a:lvl3pPr>
            <a:lvl4pPr marL="1371600" indent="0">
              <a:buNone/>
              <a:defRPr sz="14000"/>
            </a:lvl4pPr>
            <a:lvl5pPr marL="1828800" indent="0">
              <a:buNone/>
              <a:defRPr sz="14000"/>
            </a:lvl5pPr>
          </a:lstStyle>
          <a:p>
            <a:pPr lvl="0"/>
            <a:r>
              <a:rPr lang="en-US" noProof="0" dirty="0"/>
              <a:t>10%</a:t>
            </a:r>
          </a:p>
        </p:txBody>
      </p:sp>
    </p:spTree>
    <p:extLst>
      <p:ext uri="{BB962C8B-B14F-4D97-AF65-F5344CB8AC3E}">
        <p14:creationId xmlns:p14="http://schemas.microsoft.com/office/powerpoint/2010/main" val="39864130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Nyckeltal med bild">
    <p:spTree>
      <p:nvGrpSpPr>
        <p:cNvPr id="1" name=""/>
        <p:cNvGrpSpPr/>
        <p:nvPr/>
      </p:nvGrpSpPr>
      <p:grpSpPr>
        <a:xfrm>
          <a:off x="0" y="0"/>
          <a:ext cx="0" cy="0"/>
          <a:chOff x="0" y="0"/>
          <a:chExt cx="0" cy="0"/>
        </a:xfrm>
      </p:grpSpPr>
      <p:sp>
        <p:nvSpPr>
          <p:cNvPr id="17" name="Rectangle 16"/>
          <p:cNvSpPr/>
          <p:nvPr userDrawn="1"/>
        </p:nvSpPr>
        <p:spPr>
          <a:xfrm>
            <a:off x="0" y="0"/>
            <a:ext cx="12192000" cy="6870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Platshållare för bild 7"/>
          <p:cNvSpPr>
            <a:spLocks noGrp="1"/>
          </p:cNvSpPr>
          <p:nvPr>
            <p:ph type="pic" sz="quarter" idx="13" hasCustomPrompt="1"/>
          </p:nvPr>
        </p:nvSpPr>
        <p:spPr>
          <a:xfrm>
            <a:off x="0" y="0"/>
            <a:ext cx="12192000"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9" name="Underrubrik 2"/>
          <p:cNvSpPr>
            <a:spLocks noGrp="1"/>
          </p:cNvSpPr>
          <p:nvPr>
            <p:ph type="subTitle" idx="1" hasCustomPrompt="1"/>
          </p:nvPr>
        </p:nvSpPr>
        <p:spPr>
          <a:xfrm>
            <a:off x="559192" y="6068628"/>
            <a:ext cx="9288000" cy="207468"/>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0" name="Title 12"/>
          <p:cNvSpPr>
            <a:spLocks noGrp="1"/>
          </p:cNvSpPr>
          <p:nvPr>
            <p:ph type="title" hasCustomPrompt="1"/>
          </p:nvPr>
        </p:nvSpPr>
        <p:spPr>
          <a:xfrm>
            <a:off x="559192" y="4559300"/>
            <a:ext cx="7459394" cy="1025570"/>
          </a:xfrm>
        </p:spPr>
        <p:txBody>
          <a:bodyPr anchor="b"/>
          <a:lstStyle>
            <a:lvl1pPr>
              <a:lnSpc>
                <a:spcPct val="100000"/>
              </a:lnSpc>
              <a:defRPr sz="3200">
                <a:solidFill>
                  <a:schemeClr val="bg1"/>
                </a:solidFill>
              </a:defRPr>
            </a:lvl1pPr>
          </a:lstStyle>
          <a:p>
            <a:r>
              <a:rPr lang="en-US" noProof="0" dirty="0"/>
              <a:t>Click to edit master title</a:t>
            </a:r>
          </a:p>
        </p:txBody>
      </p:sp>
      <p:sp>
        <p:nvSpPr>
          <p:cNvPr id="11" name="Text Placeholder 15"/>
          <p:cNvSpPr>
            <a:spLocks noGrp="1"/>
          </p:cNvSpPr>
          <p:nvPr>
            <p:ph type="body" sz="quarter" idx="14" hasCustomPrompt="1"/>
          </p:nvPr>
        </p:nvSpPr>
        <p:spPr>
          <a:xfrm>
            <a:off x="558800" y="5803900"/>
            <a:ext cx="928846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2" name="Text Placeholder 3"/>
          <p:cNvSpPr>
            <a:spLocks noGrp="1"/>
          </p:cNvSpPr>
          <p:nvPr>
            <p:ph type="body" sz="quarter" idx="15" hasCustomPrompt="1"/>
          </p:nvPr>
        </p:nvSpPr>
        <p:spPr>
          <a:xfrm>
            <a:off x="558800" y="2447776"/>
            <a:ext cx="7459663" cy="2390923"/>
          </a:xfrm>
        </p:spPr>
        <p:txBody>
          <a:bodyPr anchor="b"/>
          <a:lstStyle>
            <a:lvl1pPr marL="0" indent="0">
              <a:lnSpc>
                <a:spcPct val="100000"/>
              </a:lnSpc>
              <a:buNone/>
              <a:defRPr sz="14000" b="0" i="0">
                <a:solidFill>
                  <a:schemeClr val="accent2"/>
                </a:solidFill>
                <a:latin typeface="Rockwell Std Light" charset="0"/>
                <a:ea typeface="Rockwell Std Light" charset="0"/>
                <a:cs typeface="Rockwell Std Light" charset="0"/>
              </a:defRPr>
            </a:lvl1pPr>
            <a:lvl2pPr marL="457200" indent="0">
              <a:buNone/>
              <a:defRPr sz="14000"/>
            </a:lvl2pPr>
            <a:lvl3pPr marL="914400" indent="0">
              <a:buNone/>
              <a:defRPr sz="14000"/>
            </a:lvl3pPr>
            <a:lvl4pPr marL="1371600" indent="0">
              <a:buNone/>
              <a:defRPr sz="14000"/>
            </a:lvl4pPr>
            <a:lvl5pPr marL="1828800" indent="0">
              <a:buNone/>
              <a:defRPr sz="14000"/>
            </a:lvl5pPr>
          </a:lstStyle>
          <a:p>
            <a:pPr lvl="0"/>
            <a:r>
              <a:rPr lang="en-US" noProof="0" dirty="0"/>
              <a:t>10%</a:t>
            </a:r>
          </a:p>
        </p:txBody>
      </p:sp>
    </p:spTree>
    <p:extLst>
      <p:ext uri="{BB962C8B-B14F-4D97-AF65-F5344CB8AC3E}">
        <p14:creationId xmlns:p14="http://schemas.microsoft.com/office/powerpoint/2010/main" val="5877961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itat vit">
    <p:spTree>
      <p:nvGrpSpPr>
        <p:cNvPr id="1" name=""/>
        <p:cNvGrpSpPr/>
        <p:nvPr/>
      </p:nvGrpSpPr>
      <p:grpSpPr>
        <a:xfrm>
          <a:off x="0" y="0"/>
          <a:ext cx="0" cy="0"/>
          <a:chOff x="0" y="0"/>
          <a:chExt cx="0" cy="0"/>
        </a:xfrm>
      </p:grpSpPr>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lvl1pPr>
          </a:lstStyle>
          <a:p>
            <a:r>
              <a:rPr lang="en-US" noProof="0" dirty="0"/>
              <a:t>Click to edit master title</a:t>
            </a:r>
          </a:p>
        </p:txBody>
      </p:sp>
    </p:spTree>
    <p:extLst>
      <p:ext uri="{BB962C8B-B14F-4D97-AF65-F5344CB8AC3E}">
        <p14:creationId xmlns:p14="http://schemas.microsoft.com/office/powerpoint/2010/main" val="34893048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itat gul">
    <p:spTree>
      <p:nvGrpSpPr>
        <p:cNvPr id="1" name=""/>
        <p:cNvGrpSpPr/>
        <p:nvPr/>
      </p:nvGrpSpPr>
      <p:grpSpPr>
        <a:xfrm>
          <a:off x="0" y="0"/>
          <a:ext cx="0" cy="0"/>
          <a:chOff x="0" y="0"/>
          <a:chExt cx="0" cy="0"/>
        </a:xfrm>
      </p:grpSpPr>
      <p:sp>
        <p:nvSpPr>
          <p:cNvPr id="9" name="Rectangle 8"/>
          <p:cNvSpPr/>
          <p:nvPr userDrawn="1"/>
        </p:nvSpPr>
        <p:spPr>
          <a:xfrm>
            <a:off x="258055" y="746975"/>
            <a:ext cx="11675890" cy="585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accent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bg1"/>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lvl1pPr>
          </a:lstStyle>
          <a:p>
            <a:r>
              <a:rPr lang="en-US" noProof="0" dirty="0"/>
              <a:t>Click to edit master title</a:t>
            </a:r>
          </a:p>
        </p:txBody>
      </p:sp>
    </p:spTree>
    <p:extLst>
      <p:ext uri="{BB962C8B-B14F-4D97-AF65-F5344CB8AC3E}">
        <p14:creationId xmlns:p14="http://schemas.microsoft.com/office/powerpoint/2010/main" val="40658943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itat svart">
    <p:spTree>
      <p:nvGrpSpPr>
        <p:cNvPr id="1" name=""/>
        <p:cNvGrpSpPr/>
        <p:nvPr/>
      </p:nvGrpSpPr>
      <p:grpSpPr>
        <a:xfrm>
          <a:off x="0" y="0"/>
          <a:ext cx="0" cy="0"/>
          <a:chOff x="0" y="0"/>
          <a:chExt cx="0" cy="0"/>
        </a:xfrm>
      </p:grpSpPr>
      <p:sp>
        <p:nvSpPr>
          <p:cNvPr id="9" name="Rectangle 8"/>
          <p:cNvSpPr/>
          <p:nvPr userDrawn="1"/>
        </p:nvSpPr>
        <p:spPr>
          <a:xfrm>
            <a:off x="258055" y="746975"/>
            <a:ext cx="11675890" cy="58529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6" name="Text Placeholder 15"/>
          <p:cNvSpPr>
            <a:spLocks noGrp="1"/>
          </p:cNvSpPr>
          <p:nvPr>
            <p:ph type="body" sz="quarter" idx="13"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6" name="TextBox 5"/>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3" name="Title 12"/>
          <p:cNvSpPr>
            <a:spLocks noGrp="1"/>
          </p:cNvSpPr>
          <p:nvPr>
            <p:ph type="title" hasCustomPrompt="1"/>
          </p:nvPr>
        </p:nvSpPr>
        <p:spPr>
          <a:xfrm>
            <a:off x="1587321" y="2886841"/>
            <a:ext cx="8844566" cy="1336801"/>
          </a:xfrm>
        </p:spPr>
        <p:txBody>
          <a:bodyPr anchor="t"/>
          <a:lstStyle>
            <a:lvl1pPr>
              <a:lnSpc>
                <a:spcPct val="100000"/>
              </a:lnSpc>
              <a:defRPr sz="4000">
                <a:solidFill>
                  <a:schemeClr val="bg1"/>
                </a:solidFill>
              </a:defRPr>
            </a:lvl1pPr>
          </a:lstStyle>
          <a:p>
            <a:r>
              <a:rPr lang="en-US" noProof="0" dirty="0"/>
              <a:t>Click to edit master title</a:t>
            </a:r>
          </a:p>
        </p:txBody>
      </p:sp>
    </p:spTree>
    <p:extLst>
      <p:ext uri="{BB962C8B-B14F-4D97-AF65-F5344CB8AC3E}">
        <p14:creationId xmlns:p14="http://schemas.microsoft.com/office/powerpoint/2010/main" val="36920744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itat med bild">
    <p:bg>
      <p:bgPr>
        <a:solidFill>
          <a:schemeClr val="tx1"/>
        </a:solidFill>
        <a:effectLst/>
      </p:bgPr>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0" y="0"/>
            <a:ext cx="12191999" cy="6858000"/>
          </a:xfrm>
        </p:spPr>
        <p:txBody>
          <a:bodyPr/>
          <a:lstStyle>
            <a:lvl1pPr marL="0" indent="0">
              <a:buNone/>
              <a:defRPr baseline="0"/>
            </a:lvl1pPr>
          </a:lstStyle>
          <a:p>
            <a:r>
              <a:rPr lang="en-US" noProof="0" dirty="0"/>
              <a:t> </a:t>
            </a:r>
          </a:p>
        </p:txBody>
      </p:sp>
      <p:pic>
        <p:nvPicPr>
          <p:cNvPr id="18" name="Bildobjekt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643" y="247055"/>
            <a:ext cx="1349557" cy="235682"/>
          </a:xfrm>
          <a:prstGeom prst="rect">
            <a:avLst/>
          </a:prstGeom>
        </p:spPr>
      </p:pic>
      <p:sp>
        <p:nvSpPr>
          <p:cNvPr id="13" name="Underrubrik 2"/>
          <p:cNvSpPr>
            <a:spLocks noGrp="1"/>
          </p:cNvSpPr>
          <p:nvPr>
            <p:ph type="subTitle" idx="1" hasCustomPrompt="1"/>
          </p:nvPr>
        </p:nvSpPr>
        <p:spPr>
          <a:xfrm>
            <a:off x="1587713" y="4621751"/>
            <a:ext cx="8844125" cy="188110"/>
          </a:xfrm>
        </p:spPr>
        <p:txBody>
          <a:bodyPr anchor="b">
            <a:noAutofit/>
          </a:bodyPr>
          <a:lstStyle>
            <a:lvl1pPr marL="0" indent="0" algn="l">
              <a:lnSpc>
                <a:spcPct val="100000"/>
              </a:lnSpc>
              <a:buNone/>
              <a:defRPr sz="1000" cap="all" spc="3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4" name="Text Placeholder 15"/>
          <p:cNvSpPr>
            <a:spLocks noGrp="1"/>
          </p:cNvSpPr>
          <p:nvPr>
            <p:ph type="body" sz="quarter" idx="14" hasCustomPrompt="1"/>
          </p:nvPr>
        </p:nvSpPr>
        <p:spPr>
          <a:xfrm>
            <a:off x="1587322" y="4357023"/>
            <a:ext cx="8844566" cy="240377"/>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15" name="TextBox 14"/>
          <p:cNvSpPr txBox="1"/>
          <p:nvPr userDrawn="1"/>
        </p:nvSpPr>
        <p:spPr>
          <a:xfrm>
            <a:off x="1104363" y="2390784"/>
            <a:ext cx="965916" cy="927279"/>
          </a:xfrm>
          <a:prstGeom prst="rect">
            <a:avLst/>
          </a:prstGeom>
        </p:spPr>
        <p:txBody>
          <a:bodyPr vert="horz" wrap="square" lIns="0" tIns="0" rIns="0" bIns="0" rtlCol="0">
            <a:noAutofit/>
          </a:bodyPr>
          <a:lstStyle/>
          <a:p>
            <a:r>
              <a:rPr lang="en-US" sz="9600" b="1" noProof="0" dirty="0">
                <a:solidFill>
                  <a:schemeClr val="accent2"/>
                </a:solidFill>
                <a:latin typeface="+mj-lt"/>
              </a:rPr>
              <a:t>”</a:t>
            </a:r>
          </a:p>
        </p:txBody>
      </p:sp>
      <p:sp>
        <p:nvSpPr>
          <p:cNvPr id="16" name="Title 12"/>
          <p:cNvSpPr>
            <a:spLocks noGrp="1"/>
          </p:cNvSpPr>
          <p:nvPr>
            <p:ph type="title" hasCustomPrompt="1"/>
          </p:nvPr>
        </p:nvSpPr>
        <p:spPr>
          <a:xfrm>
            <a:off x="1587321" y="2886841"/>
            <a:ext cx="8844566" cy="1336801"/>
          </a:xfrm>
        </p:spPr>
        <p:txBody>
          <a:bodyPr anchor="t"/>
          <a:lstStyle>
            <a:lvl1pPr>
              <a:lnSpc>
                <a:spcPct val="100000"/>
              </a:lnSpc>
              <a:defRPr sz="4000">
                <a:solidFill>
                  <a:schemeClr val="bg1"/>
                </a:solidFill>
              </a:defRPr>
            </a:lvl1pPr>
          </a:lstStyle>
          <a:p>
            <a:r>
              <a:rPr lang="en-US" noProof="0" dirty="0"/>
              <a:t>Click to edit master title</a:t>
            </a:r>
          </a:p>
        </p:txBody>
      </p:sp>
    </p:spTree>
    <p:extLst>
      <p:ext uri="{BB962C8B-B14F-4D97-AF65-F5344CB8AC3E}">
        <p14:creationId xmlns:p14="http://schemas.microsoft.com/office/powerpoint/2010/main" val="327066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apitel vit">
    <p:spTree>
      <p:nvGrpSpPr>
        <p:cNvPr id="1" name=""/>
        <p:cNvGrpSpPr/>
        <p:nvPr/>
      </p:nvGrpSpPr>
      <p:grpSpPr>
        <a:xfrm>
          <a:off x="0" y="0"/>
          <a:ext cx="0" cy="0"/>
          <a:chOff x="0" y="0"/>
          <a:chExt cx="0" cy="0"/>
        </a:xfrm>
      </p:grpSpPr>
      <p:sp>
        <p:nvSpPr>
          <p:cNvPr id="6" name="Rectangle 5"/>
          <p:cNvSpPr/>
          <p:nvPr userDrawn="1"/>
        </p:nvSpPr>
        <p:spPr>
          <a:xfrm>
            <a:off x="258055" y="746975"/>
            <a:ext cx="11675890" cy="5852970"/>
          </a:xfrm>
          <a:prstGeom prst="rect">
            <a:avLst/>
          </a:prstGeom>
          <a:solidFill>
            <a:srgbClr val="F1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Underrubrik 2"/>
          <p:cNvSpPr>
            <a:spLocks noGrp="1"/>
          </p:cNvSpPr>
          <p:nvPr>
            <p:ph type="subTitle" idx="1" hasCustomPrompt="1"/>
          </p:nvPr>
        </p:nvSpPr>
        <p:spPr>
          <a:xfrm>
            <a:off x="559192" y="6068628"/>
            <a:ext cx="5523113" cy="207468"/>
          </a:xfrm>
        </p:spPr>
        <p:txBody>
          <a:bodyPr anchor="b">
            <a:noAutofit/>
          </a:bodyPr>
          <a:lstStyle>
            <a:lvl1pPr marL="0" indent="0" algn="l">
              <a:lnSpc>
                <a:spcPct val="100000"/>
              </a:lnSpc>
              <a:buNone/>
              <a:defRPr sz="10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13" name="Title 12"/>
          <p:cNvSpPr>
            <a:spLocks noGrp="1"/>
          </p:cNvSpPr>
          <p:nvPr>
            <p:ph type="title" hasCustomPrompt="1"/>
          </p:nvPr>
        </p:nvSpPr>
        <p:spPr>
          <a:xfrm>
            <a:off x="559192" y="3305907"/>
            <a:ext cx="5523012" cy="2278963"/>
          </a:xfrm>
        </p:spPr>
        <p:txBody>
          <a:bodyPr anchor="b"/>
          <a:lstStyle>
            <a:lvl1pPr>
              <a:lnSpc>
                <a:spcPct val="100000"/>
              </a:lnSpc>
              <a:defRPr sz="4000"/>
            </a:lvl1pPr>
          </a:lstStyle>
          <a:p>
            <a:r>
              <a:rPr lang="en-US" noProof="0" dirty="0"/>
              <a:t>Click to edit master title</a:t>
            </a:r>
          </a:p>
        </p:txBody>
      </p:sp>
      <p:sp>
        <p:nvSpPr>
          <p:cNvPr id="16" name="Text Placeholder 15"/>
          <p:cNvSpPr>
            <a:spLocks noGrp="1"/>
          </p:cNvSpPr>
          <p:nvPr>
            <p:ph type="body" sz="quarter" idx="13" hasCustomPrompt="1"/>
          </p:nvPr>
        </p:nvSpPr>
        <p:spPr>
          <a:xfrm>
            <a:off x="558801" y="5803900"/>
            <a:ext cx="5523403" cy="265113"/>
          </a:xfrm>
        </p:spPr>
        <p:txBody>
          <a:bodyPr anchor="b"/>
          <a:lstStyle>
            <a:lvl1pPr marL="0" indent="0">
              <a:buNone/>
              <a:defRPr sz="1000" b="1">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subtitle style</a:t>
            </a:r>
          </a:p>
        </p:txBody>
      </p:sp>
      <p:sp>
        <p:nvSpPr>
          <p:cNvPr id="4" name="Content Placeholder 3"/>
          <p:cNvSpPr>
            <a:spLocks noGrp="1"/>
          </p:cNvSpPr>
          <p:nvPr>
            <p:ph sz="quarter" idx="14"/>
          </p:nvPr>
        </p:nvSpPr>
        <p:spPr>
          <a:xfrm>
            <a:off x="6400555" y="1006475"/>
            <a:ext cx="5214938" cy="5268913"/>
          </a:xfrm>
        </p:spPr>
        <p:txBody>
          <a:bodyPr anchor="b"/>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Tree>
    <p:extLst>
      <p:ext uri="{BB962C8B-B14F-4D97-AF65-F5344CB8AC3E}">
        <p14:creationId xmlns:p14="http://schemas.microsoft.com/office/powerpoint/2010/main" val="23306237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image" Target="../media/image3.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image" Target="../media/image3.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image" Target="../media/image12.png"/><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theme" Target="../theme/theme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theme" Target="../theme/theme6.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21" Type="http://schemas.openxmlformats.org/officeDocument/2006/relationships/image" Target="../media/image3.emf"/><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theme" Target="../theme/theme7.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 id="214748384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571050" y="1077375"/>
            <a:ext cx="11025900" cy="556114"/>
          </a:xfrm>
          <a:prstGeom prst="rect">
            <a:avLst/>
          </a:prstGeom>
        </p:spPr>
        <p:txBody>
          <a:bodyPr vert="horz" lIns="0" tIns="0" rIns="0" bIns="0" rtlCol="0" anchor="t">
            <a:noAutofit/>
          </a:bodyPr>
          <a:lstStyle/>
          <a:p>
            <a:r>
              <a:rPr lang="en-US" noProof="0" dirty="0"/>
              <a:t>Click here to edit format</a:t>
            </a:r>
          </a:p>
        </p:txBody>
      </p:sp>
      <p:sp>
        <p:nvSpPr>
          <p:cNvPr id="3" name="Platshållare för text 2"/>
          <p:cNvSpPr>
            <a:spLocks noGrp="1"/>
          </p:cNvSpPr>
          <p:nvPr>
            <p:ph type="body" idx="1"/>
          </p:nvPr>
        </p:nvSpPr>
        <p:spPr>
          <a:xfrm>
            <a:off x="571050" y="1813457"/>
            <a:ext cx="5406905" cy="4206343"/>
          </a:xfrm>
          <a:prstGeom prst="rect">
            <a:avLst/>
          </a:prstGeom>
        </p:spPr>
        <p:txBody>
          <a:bodyPr vert="horz" lIns="0" tIns="0" rIns="0" bIns="0" rtlCol="0">
            <a:noAutofit/>
          </a:bodyPr>
          <a:lstStyle/>
          <a:p>
            <a:pPr lvl="0"/>
            <a:r>
              <a:rPr lang="en-US" noProof="0" dirty="0"/>
              <a:t>Click to edit text</a:t>
            </a:r>
          </a:p>
          <a:p>
            <a:pPr lvl="1"/>
            <a:r>
              <a:rPr lang="en-US" noProof="0" dirty="0"/>
              <a:t>Level two</a:t>
            </a:r>
          </a:p>
          <a:p>
            <a:pPr lvl="2"/>
            <a:r>
              <a:rPr lang="en-US" noProof="0" dirty="0"/>
              <a:t>Level three</a:t>
            </a:r>
          </a:p>
          <a:p>
            <a:pPr lvl="3"/>
            <a:r>
              <a:rPr lang="en-US" noProof="0" dirty="0"/>
              <a:t>Level four</a:t>
            </a:r>
          </a:p>
          <a:p>
            <a:pPr lvl="4"/>
            <a:r>
              <a:rPr lang="en-US" noProof="0" dirty="0"/>
              <a:t>Level five</a:t>
            </a:r>
          </a:p>
        </p:txBody>
      </p:sp>
      <p:sp>
        <p:nvSpPr>
          <p:cNvPr id="4" name="Platshållare för datum 3"/>
          <p:cNvSpPr>
            <a:spLocks noGrp="1"/>
          </p:cNvSpPr>
          <p:nvPr>
            <p:ph type="dt" sz="half" idx="2"/>
          </p:nvPr>
        </p:nvSpPr>
        <p:spPr>
          <a:xfrm>
            <a:off x="5481222" y="6295400"/>
            <a:ext cx="1692000" cy="252000"/>
          </a:xfrm>
          <a:prstGeom prst="rect">
            <a:avLst/>
          </a:prstGeom>
        </p:spPr>
        <p:txBody>
          <a:bodyPr vert="horz" lIns="91440" tIns="45720" rIns="91440" bIns="45720" rtlCol="0" anchor="ctr"/>
          <a:lstStyle>
            <a:lvl1pPr algn="ctr">
              <a:defRPr sz="1000" cap="all" baseline="0">
                <a:solidFill>
                  <a:schemeClr val="tx1"/>
                </a:solidFill>
              </a:defRPr>
            </a:lvl1pPr>
          </a:lstStyle>
          <a:p>
            <a:fld id="{CC564DCC-93F6-4626-851E-B7512A158F15}" type="datetimeFigureOut">
              <a:rPr lang="en-US" noProof="0" smtClean="0"/>
              <a:pPr/>
              <a:t>3/12/2018</a:t>
            </a:fld>
            <a:endParaRPr lang="en-US" noProof="0" dirty="0"/>
          </a:p>
        </p:txBody>
      </p:sp>
      <p:sp>
        <p:nvSpPr>
          <p:cNvPr id="5" name="Platshållare för sidfot 4"/>
          <p:cNvSpPr>
            <a:spLocks noGrp="1"/>
          </p:cNvSpPr>
          <p:nvPr>
            <p:ph type="ftr" sz="quarter" idx="3"/>
          </p:nvPr>
        </p:nvSpPr>
        <p:spPr>
          <a:xfrm>
            <a:off x="380550" y="6295400"/>
            <a:ext cx="3240000" cy="252000"/>
          </a:xfrm>
          <a:prstGeom prst="rect">
            <a:avLst/>
          </a:prstGeom>
        </p:spPr>
        <p:txBody>
          <a:bodyPr vert="horz" lIns="0" tIns="45720" rIns="0" bIns="45720" rtlCol="0" anchor="ctr"/>
          <a:lstStyle>
            <a:lvl1pPr algn="l">
              <a:defRPr sz="1000" baseline="0">
                <a:solidFill>
                  <a:schemeClr val="tx1"/>
                </a:solidFill>
              </a:defRPr>
            </a:lvl1pPr>
          </a:lstStyle>
          <a:p>
            <a:endParaRPr lang="en-US" noProof="0" dirty="0"/>
          </a:p>
        </p:txBody>
      </p:sp>
      <p:sp>
        <p:nvSpPr>
          <p:cNvPr id="6" name="Platshållare för bildnummer 5"/>
          <p:cNvSpPr>
            <a:spLocks noGrp="1"/>
          </p:cNvSpPr>
          <p:nvPr>
            <p:ph type="sldNum" sz="quarter" idx="4"/>
          </p:nvPr>
        </p:nvSpPr>
        <p:spPr>
          <a:xfrm>
            <a:off x="9527550" y="6295400"/>
            <a:ext cx="2268000" cy="252000"/>
          </a:xfrm>
          <a:prstGeom prst="rect">
            <a:avLst/>
          </a:prstGeom>
        </p:spPr>
        <p:txBody>
          <a:bodyPr vert="horz" lIns="0" tIns="45720" rIns="0" bIns="45720" rtlCol="0" anchor="ctr"/>
          <a:lstStyle>
            <a:lvl1pPr algn="r">
              <a:defRPr sz="1000" baseline="0">
                <a:solidFill>
                  <a:schemeClr val="tx1"/>
                </a:solidFill>
              </a:defRPr>
            </a:lvl1pPr>
          </a:lstStyle>
          <a:p>
            <a:fld id="{9F2427D2-1D7A-43E0-8D06-E65F1A373F4F}" type="slidenum">
              <a:rPr lang="en-US" noProof="0" smtClean="0"/>
              <a:pPr/>
              <a:t>‹#›</a:t>
            </a:fld>
            <a:endParaRPr lang="en-US" noProof="0" dirty="0"/>
          </a:p>
        </p:txBody>
      </p:sp>
      <p:pic>
        <p:nvPicPr>
          <p:cNvPr id="9" name="Bildobjekt 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254001" y="254001"/>
            <a:ext cx="1346200" cy="235092"/>
          </a:xfrm>
          <a:prstGeom prst="rect">
            <a:avLst/>
          </a:prstGeom>
        </p:spPr>
      </p:pic>
    </p:spTree>
    <p:extLst>
      <p:ext uri="{BB962C8B-B14F-4D97-AF65-F5344CB8AC3E}">
        <p14:creationId xmlns:p14="http://schemas.microsoft.com/office/powerpoint/2010/main" val="76578002"/>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xStyles>
    <p:titleStyle>
      <a:lvl1pPr algn="l" defTabSz="914400" rtl="0" eaLnBrk="1" latinLnBrk="0" hangingPunct="1">
        <a:lnSpc>
          <a:spcPts val="4200"/>
        </a:lnSpc>
        <a:spcBef>
          <a:spcPct val="0"/>
        </a:spcBef>
        <a:buNone/>
        <a:defRPr sz="3200" b="0" i="0" kern="1200" baseline="0">
          <a:solidFill>
            <a:schemeClr val="tx1"/>
          </a:solidFill>
          <a:latin typeface="Rockwell Std Light" charset="0"/>
          <a:ea typeface="Rockwell Std Light" charset="0"/>
          <a:cs typeface="Rockwell Std Light" charset="0"/>
        </a:defRPr>
      </a:lvl1pPr>
    </p:titleStyle>
    <p:bodyStyle>
      <a:lvl1pPr marL="180000" indent="-180000" algn="l" defTabSz="914400" rtl="0" eaLnBrk="1" latinLnBrk="0" hangingPunct="1">
        <a:lnSpc>
          <a:spcPts val="2500"/>
        </a:lnSpc>
        <a:spcBef>
          <a:spcPts val="0"/>
        </a:spcBef>
        <a:buClr>
          <a:schemeClr val="accent2"/>
        </a:buClr>
        <a:buFont typeface="Wingdings" charset="2"/>
        <a:buChar char="§"/>
        <a:defRPr sz="1600" kern="1200" baseline="0">
          <a:solidFill>
            <a:schemeClr val="tx1"/>
          </a:solidFill>
          <a:latin typeface="+mn-lt"/>
          <a:ea typeface="+mn-ea"/>
          <a:cs typeface="+mn-cs"/>
        </a:defRPr>
      </a:lvl1pPr>
      <a:lvl2pPr marL="6858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2pPr>
      <a:lvl3pPr marL="11430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3pPr>
      <a:lvl4pPr marL="16002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4pPr>
      <a:lvl5pPr marL="2057400" indent="-228600" algn="l" defTabSz="914400" rtl="0" eaLnBrk="1" latinLnBrk="0" hangingPunct="1">
        <a:lnSpc>
          <a:spcPts val="2500"/>
        </a:lnSpc>
        <a:spcBef>
          <a:spcPts val="0"/>
        </a:spcBef>
        <a:buClr>
          <a:schemeClr val="accent2"/>
        </a:buClr>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7.png"/><Relationship Id="rId3" Type="http://schemas.openxmlformats.org/officeDocument/2006/relationships/hyperlink" Target="https://azure.microsoft.com/en-us/services/cosmos-db/" TargetMode="External"/><Relationship Id="rId7" Type="http://schemas.openxmlformats.org/officeDocument/2006/relationships/image" Target="../media/image24.png"/><Relationship Id="rId12" Type="http://schemas.openxmlformats.org/officeDocument/2006/relationships/hyperlink" Target="https://azure.microsoft.com/en-us/services/event-grid/" TargetMode="External"/><Relationship Id="rId17" Type="http://schemas.openxmlformats.org/officeDocument/2006/relationships/image" Target="../media/image30.png"/><Relationship Id="rId2" Type="http://schemas.openxmlformats.org/officeDocument/2006/relationships/notesSlide" Target="../notesSlides/notesSlide11.xml"/><Relationship Id="rId16" Type="http://schemas.openxmlformats.org/officeDocument/2006/relationships/image" Target="../media/image29.png"/><Relationship Id="rId1" Type="http://schemas.openxmlformats.org/officeDocument/2006/relationships/slideLayout" Target="../slideLayouts/slideLayout30.xml"/><Relationship Id="rId6" Type="http://schemas.openxmlformats.org/officeDocument/2006/relationships/hyperlink" Target="https://azure.microsoft.com/en-us/services/storage/?v=16.50" TargetMode="External"/><Relationship Id="rId11" Type="http://schemas.openxmlformats.org/officeDocument/2006/relationships/image" Target="../media/image26.png"/><Relationship Id="rId5" Type="http://schemas.microsoft.com/office/2007/relationships/hdphoto" Target="../media/hdphoto1.wdp"/><Relationship Id="rId15" Type="http://schemas.openxmlformats.org/officeDocument/2006/relationships/image" Target="../media/image28.png"/><Relationship Id="rId10" Type="http://schemas.openxmlformats.org/officeDocument/2006/relationships/hyperlink" Target="https://azure.microsoft.com/en-us/services/stream-analytics/" TargetMode="External"/><Relationship Id="rId4" Type="http://schemas.openxmlformats.org/officeDocument/2006/relationships/image" Target="../media/image23.png"/><Relationship Id="rId9" Type="http://schemas.openxmlformats.org/officeDocument/2006/relationships/image" Target="../media/image25.png"/><Relationship Id="rId14" Type="http://schemas.openxmlformats.org/officeDocument/2006/relationships/hyperlink" Target="https://azure.microsoft.com/en-us/services/active-director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svg"/><Relationship Id="rId9" Type="http://schemas.openxmlformats.org/officeDocument/2006/relationships/image" Target="../media/image39.png"/><Relationship Id="rId14"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34.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36.xml"/><Relationship Id="rId5" Type="http://schemas.openxmlformats.org/officeDocument/2006/relationships/image" Target="../media/image49.png"/><Relationship Id="rId4" Type="http://schemas.openxmlformats.org/officeDocument/2006/relationships/image" Target="../media/image48.png"/></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8" Type="http://schemas.openxmlformats.org/officeDocument/2006/relationships/hyperlink" Target="https://azure.microsoft.com/en-us/services/active-directory/" TargetMode="External"/><Relationship Id="rId3" Type="http://schemas.openxmlformats.org/officeDocument/2006/relationships/hyperlink" Target="https://azure.microsoft.com/en-us/services/cosmos-db/" TargetMode="External"/><Relationship Id="rId7" Type="http://schemas.openxmlformats.org/officeDocument/2006/relationships/image" Target="../media/image26.png"/><Relationship Id="rId12"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hyperlink" Target="https://azure.microsoft.com/en-us/services/stream-analytics/" TargetMode="External"/><Relationship Id="rId11" Type="http://schemas.openxmlformats.org/officeDocument/2006/relationships/image" Target="../media/image53.svg"/><Relationship Id="rId5" Type="http://schemas.microsoft.com/office/2007/relationships/hdphoto" Target="../media/hdphoto1.wdp"/><Relationship Id="rId10" Type="http://schemas.openxmlformats.org/officeDocument/2006/relationships/image" Target="../media/image52.png"/><Relationship Id="rId4" Type="http://schemas.openxmlformats.org/officeDocument/2006/relationships/image" Target="../media/image23.png"/><Relationship Id="rId9"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1.xml"/><Relationship Id="rId1" Type="http://schemas.openxmlformats.org/officeDocument/2006/relationships/slideLayout" Target="../slideLayouts/slideLayout106.xml"/><Relationship Id="rId4" Type="http://schemas.openxmlformats.org/officeDocument/2006/relationships/image" Target="../media/image56.jpeg"/></Relationships>
</file>

<file path=ppt/slides/_rels/slide22.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7.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33" Type="http://schemas.openxmlformats.org/officeDocument/2006/relationships/image" Target="../media/image86.png"/><Relationship Id="rId2" Type="http://schemas.openxmlformats.org/officeDocument/2006/relationships/notesSlide" Target="../notesSlides/notesSlide22.xml"/><Relationship Id="rId16" Type="http://schemas.openxmlformats.org/officeDocument/2006/relationships/image" Target="../media/image69.png"/><Relationship Id="rId20" Type="http://schemas.openxmlformats.org/officeDocument/2006/relationships/image" Target="../media/image73.png"/><Relationship Id="rId29" Type="http://schemas.openxmlformats.org/officeDocument/2006/relationships/image" Target="../media/image82.png"/><Relationship Id="rId1" Type="http://schemas.openxmlformats.org/officeDocument/2006/relationships/slideLayout" Target="../slideLayouts/slideLayout11.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png"/><Relationship Id="rId32" Type="http://schemas.openxmlformats.org/officeDocument/2006/relationships/image" Target="../media/image85.png"/><Relationship Id="rId5" Type="http://schemas.microsoft.com/office/2007/relationships/hdphoto" Target="../media/hdphoto2.wdp"/><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png"/><Relationship Id="rId10" Type="http://schemas.openxmlformats.org/officeDocument/2006/relationships/image" Target="../media/image63.png"/><Relationship Id="rId19" Type="http://schemas.openxmlformats.org/officeDocument/2006/relationships/image" Target="../media/image72.png"/><Relationship Id="rId31" Type="http://schemas.openxmlformats.org/officeDocument/2006/relationships/image" Target="../media/image84.png"/><Relationship Id="rId4" Type="http://schemas.openxmlformats.org/officeDocument/2006/relationships/image" Target="../media/image58.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image" Target="../media/image80.png"/><Relationship Id="rId30" Type="http://schemas.openxmlformats.org/officeDocument/2006/relationships/image" Target="../media/image83.png"/></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87.xml"/></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87.xml"/></Relationships>
</file>

<file path=ppt/slides/_rels/slide2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5.xml"/><Relationship Id="rId1" Type="http://schemas.openxmlformats.org/officeDocument/2006/relationships/slideLayout" Target="../slideLayouts/slideLayout87.xml"/></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6.xml"/><Relationship Id="rId1" Type="http://schemas.openxmlformats.org/officeDocument/2006/relationships/slideLayout" Target="../slideLayouts/slideLayout8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99.png"/><Relationship Id="rId3" Type="http://schemas.openxmlformats.org/officeDocument/2006/relationships/image" Target="../media/image91.emf"/><Relationship Id="rId7" Type="http://schemas.openxmlformats.org/officeDocument/2006/relationships/image" Target="../media/image95.png"/><Relationship Id="rId12" Type="http://schemas.openxmlformats.org/officeDocument/2006/relationships/image" Target="../media/image42.png"/><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image" Target="../media/image94.png"/><Relationship Id="rId11" Type="http://schemas.openxmlformats.org/officeDocument/2006/relationships/image" Target="../media/image98.png"/><Relationship Id="rId5" Type="http://schemas.openxmlformats.org/officeDocument/2006/relationships/image" Target="../media/image93.png"/><Relationship Id="rId15" Type="http://schemas.openxmlformats.org/officeDocument/2006/relationships/image" Target="../media/image40.png"/><Relationship Id="rId10" Type="http://schemas.openxmlformats.org/officeDocument/2006/relationships/image" Target="../media/image41.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0.png"/></Relationships>
</file>

<file path=ppt/slides/_rels/slide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52.png"/><Relationship Id="rId7" Type="http://schemas.openxmlformats.org/officeDocument/2006/relationships/image" Target="../media/image39.png"/><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30.png"/><Relationship Id="rId4" Type="http://schemas.openxmlformats.org/officeDocument/2006/relationships/image" Target="../media/image53.svg"/><Relationship Id="rId9" Type="http://schemas.openxmlformats.org/officeDocument/2006/relationships/image" Target="../media/image102.svg"/></Relationships>
</file>

<file path=ppt/slides/_rels/slide3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3.png"/><Relationship Id="rId7" Type="http://schemas.openxmlformats.org/officeDocument/2006/relationships/image" Target="../media/image105.png"/><Relationship Id="rId2" Type="http://schemas.openxmlformats.org/officeDocument/2006/relationships/notesSlide" Target="../notesSlides/notesSlide33.xml"/><Relationship Id="rId1" Type="http://schemas.openxmlformats.org/officeDocument/2006/relationships/slideLayout" Target="../slideLayouts/slideLayout22.xml"/><Relationship Id="rId6" Type="http://schemas.openxmlformats.org/officeDocument/2006/relationships/image" Target="../media/image104.png"/><Relationship Id="rId11" Type="http://schemas.openxmlformats.org/officeDocument/2006/relationships/hyperlink" Target="http://github.com/Azure-Samples/customer-car-reviews" TargetMode="External"/><Relationship Id="rId5" Type="http://schemas.openxmlformats.org/officeDocument/2006/relationships/image" Target="../media/image95.png"/><Relationship Id="rId10" Type="http://schemas.openxmlformats.org/officeDocument/2006/relationships/image" Target="../media/image108.png"/><Relationship Id="rId4" Type="http://schemas.openxmlformats.org/officeDocument/2006/relationships/image" Target="../media/image49.png"/><Relationship Id="rId9" Type="http://schemas.openxmlformats.org/officeDocument/2006/relationships/image" Target="../media/image10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5.xml"/><Relationship Id="rId1" Type="http://schemas.openxmlformats.org/officeDocument/2006/relationships/slideLayout" Target="../slideLayouts/slideLayout106.xml"/><Relationship Id="rId4" Type="http://schemas.openxmlformats.org/officeDocument/2006/relationships/image" Target="../media/image56.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7.xml"/><Relationship Id="rId1" Type="http://schemas.openxmlformats.org/officeDocument/2006/relationships/slideLayout" Target="../slideLayouts/slideLayout11.xml"/><Relationship Id="rId4" Type="http://schemas.openxmlformats.org/officeDocument/2006/relationships/image" Target="../media/image1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20.emf"/><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45214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499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34793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nvGrpSpPr>
          <p:cNvPr id="147" name="Group 146">
            <a:extLst>
              <a:ext uri="{FF2B5EF4-FFF2-40B4-BE49-F238E27FC236}">
                <a16:creationId xmlns:a16="http://schemas.microsoft.com/office/drawing/2014/main" id="{CFE69381-DF88-4EE9-8330-D0BCBCA8183D}"/>
              </a:ext>
            </a:extLst>
          </p:cNvPr>
          <p:cNvGrpSpPr/>
          <p:nvPr/>
        </p:nvGrpSpPr>
        <p:grpSpPr>
          <a:xfrm>
            <a:off x="4703702" y="4544067"/>
            <a:ext cx="2232265" cy="1810955"/>
            <a:chOff x="4733988" y="2288475"/>
            <a:chExt cx="2232265" cy="1810955"/>
          </a:xfrm>
        </p:grpSpPr>
        <p:sp>
          <p:nvSpPr>
            <p:cNvPr id="148" name="Arrow: Circular 147">
              <a:extLst>
                <a:ext uri="{FF2B5EF4-FFF2-40B4-BE49-F238E27FC236}">
                  <a16:creationId xmlns:a16="http://schemas.microsoft.com/office/drawing/2014/main" id="{B5311E3D-27A3-4207-9DA9-24EC1DE85DCE}"/>
                </a:ext>
              </a:extLst>
            </p:cNvPr>
            <p:cNvSpPr/>
            <p:nvPr/>
          </p:nvSpPr>
          <p:spPr bwMode="auto">
            <a:xfrm rot="10327359">
              <a:off x="5135453" y="2288475"/>
              <a:ext cx="1830800" cy="1810955"/>
            </a:xfrm>
            <a:prstGeom prst="circularArrow">
              <a:avLst>
                <a:gd name="adj1" fmla="val 12500"/>
                <a:gd name="adj2" fmla="val 1142319"/>
                <a:gd name="adj3" fmla="val 20457681"/>
                <a:gd name="adj4" fmla="val 831748"/>
                <a:gd name="adj5" fmla="val 125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9" name="Content Placeholder 3">
              <a:extLst>
                <a:ext uri="{FF2B5EF4-FFF2-40B4-BE49-F238E27FC236}">
                  <a16:creationId xmlns:a16="http://schemas.microsoft.com/office/drawing/2014/main" id="{88E4FDCF-588C-49D7-9FE7-382C4CFA7A34}"/>
                </a:ext>
              </a:extLst>
            </p:cNvPr>
            <p:cNvPicPr>
              <a:picLocks noChangeAspect="1"/>
            </p:cNvPicPr>
            <p:nvPr/>
          </p:nvPicPr>
          <p:blipFill>
            <a:blip r:embed="rId4"/>
            <a:stretch>
              <a:fillRect/>
            </a:stretch>
          </p:blipFill>
          <p:spPr>
            <a:xfrm>
              <a:off x="5720661" y="2850202"/>
              <a:ext cx="716719" cy="666476"/>
            </a:xfrm>
            <a:prstGeom prst="rect">
              <a:avLst/>
            </a:prstGeom>
          </p:spPr>
        </p:pic>
        <p:sp>
          <p:nvSpPr>
            <p:cNvPr id="150" name="Arrow: Right 149">
              <a:extLst>
                <a:ext uri="{FF2B5EF4-FFF2-40B4-BE49-F238E27FC236}">
                  <a16:creationId xmlns:a16="http://schemas.microsoft.com/office/drawing/2014/main" id="{576A8630-7F2B-4010-8BAF-489A66B74159}"/>
                </a:ext>
              </a:extLst>
            </p:cNvPr>
            <p:cNvSpPr/>
            <p:nvPr/>
          </p:nvSpPr>
          <p:spPr>
            <a:xfrm>
              <a:off x="4733988" y="268555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1" name="Arrow: Right 150">
              <a:extLst>
                <a:ext uri="{FF2B5EF4-FFF2-40B4-BE49-F238E27FC236}">
                  <a16:creationId xmlns:a16="http://schemas.microsoft.com/office/drawing/2014/main" id="{3F97A034-FD7B-4984-9844-82B515ED95C0}"/>
                </a:ext>
              </a:extLst>
            </p:cNvPr>
            <p:cNvSpPr/>
            <p:nvPr/>
          </p:nvSpPr>
          <p:spPr>
            <a:xfrm>
              <a:off x="4741810" y="3032853"/>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2" name="Arrow: Right 151">
              <a:extLst>
                <a:ext uri="{FF2B5EF4-FFF2-40B4-BE49-F238E27FC236}">
                  <a16:creationId xmlns:a16="http://schemas.microsoft.com/office/drawing/2014/main" id="{FAF3521D-EB56-4691-ADF0-8DAF4ED09BA6}"/>
                </a:ext>
              </a:extLst>
            </p:cNvPr>
            <p:cNvSpPr/>
            <p:nvPr/>
          </p:nvSpPr>
          <p:spPr>
            <a:xfrm>
              <a:off x="4741810" y="3350061"/>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53" name="Arrow: Right 152">
              <a:extLst>
                <a:ext uri="{FF2B5EF4-FFF2-40B4-BE49-F238E27FC236}">
                  <a16:creationId xmlns:a16="http://schemas.microsoft.com/office/drawing/2014/main" id="{DA01D396-2EF0-44A6-9CBC-9EDF6193A169}"/>
                </a:ext>
              </a:extLst>
            </p:cNvPr>
            <p:cNvSpPr/>
            <p:nvPr/>
          </p:nvSpPr>
          <p:spPr>
            <a:xfrm>
              <a:off x="4741810" y="3663094"/>
              <a:ext cx="312612" cy="2032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5"/>
                                        </p:tgtEl>
                                        <p:attrNameLst>
                                          <p:attrName>style.visibility</p:attrName>
                                        </p:attrNameLst>
                                      </p:cBhvr>
                                      <p:to>
                                        <p:strVal val="visible"/>
                                      </p:to>
                                    </p:set>
                                    <p:animEffect transition="in" filter="fade">
                                      <p:cBhvr>
                                        <p:cTn id="18" dur="500"/>
                                        <p:tgtEl>
                                          <p:spTgt spid="15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0"/>
                                        </p:tgtEl>
                                        <p:attrNameLst>
                                          <p:attrName>style.visibility</p:attrName>
                                        </p:attrNameLst>
                                      </p:cBhvr>
                                      <p:to>
                                        <p:strVal val="visible"/>
                                      </p:to>
                                    </p:set>
                                    <p:animEffect transition="in" filter="fade">
                                      <p:cBhvr>
                                        <p:cTn id="23" dur="500"/>
                                        <p:tgtEl>
                                          <p:spTgt spid="13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4"/>
                                        </p:tgtEl>
                                        <p:attrNameLst>
                                          <p:attrName>style.visibility</p:attrName>
                                        </p:attrNameLst>
                                      </p:cBhvr>
                                      <p:to>
                                        <p:strVal val="visible"/>
                                      </p:to>
                                    </p:set>
                                    <p:animEffect transition="in" filter="fade">
                                      <p:cBhvr>
                                        <p:cTn id="26" dur="500"/>
                                        <p:tgtEl>
                                          <p:spTgt spid="15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6"/>
                                        </p:tgtEl>
                                        <p:attrNameLst>
                                          <p:attrName>style.visibility</p:attrName>
                                        </p:attrNameLst>
                                      </p:cBhvr>
                                      <p:to>
                                        <p:strVal val="visible"/>
                                      </p:to>
                                    </p:set>
                                    <p:animEffect transition="in" filter="fade">
                                      <p:cBhvr>
                                        <p:cTn id="34" dur="500"/>
                                        <p:tgtEl>
                                          <p:spTgt spid="15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46"/>
                                        </p:tgtEl>
                                        <p:attrNameLst>
                                          <p:attrName>style.visibility</p:attrName>
                                        </p:attrNameLst>
                                      </p:cBhvr>
                                      <p:to>
                                        <p:strVal val="visible"/>
                                      </p:to>
                                    </p:set>
                                    <p:animEffect transition="in" filter="fade">
                                      <p:cBhvr>
                                        <p:cTn id="39" dur="500"/>
                                        <p:tgtEl>
                                          <p:spTgt spid="1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7"/>
                                        </p:tgtEl>
                                        <p:attrNameLst>
                                          <p:attrName>style.visibility</p:attrName>
                                        </p:attrNameLst>
                                      </p:cBhvr>
                                      <p:to>
                                        <p:strVal val="visible"/>
                                      </p:to>
                                    </p:set>
                                    <p:animEffect transition="in" filter="fade">
                                      <p:cBhvr>
                                        <p:cTn id="42"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4" grpId="0" animBg="1"/>
      <p:bldP spid="155" grpId="0" animBg="1"/>
      <p:bldP spid="156" grpId="0" animBg="1"/>
      <p:bldP spid="1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6"/>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7">
            <a:biLevel thresh="25000"/>
            <a:extLst>
              <a:ext uri="{28A0092B-C50C-407E-A947-70E740481C1C}">
                <a14:useLocalDpi xmlns:a14="http://schemas.microsoft.com/office/drawing/2010/main" val="0"/>
              </a:ext>
            </a:extLst>
          </a:blip>
          <a:srcRect t="7228" b="7991"/>
          <a:stretch/>
        </p:blipFill>
        <p:spPr bwMode="auto">
          <a:xfrm>
            <a:off x="10574768" y="5771602"/>
            <a:ext cx="536919" cy="45521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8"/>
            <a:extLst>
              <a:ext uri="{FF2B5EF4-FFF2-40B4-BE49-F238E27FC236}">
                <a16:creationId xmlns:a16="http://schemas.microsoft.com/office/drawing/2014/main" id="{AD844650-CF5F-47A0-93CA-0DACD0DD31F6}"/>
              </a:ext>
            </a:extLst>
          </p:cNvPr>
          <p:cNvPicPr>
            <a:picLocks noChangeAspect="1" noChangeArrowheads="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10621030" y="4064276"/>
            <a:ext cx="444394" cy="444394"/>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Local Development</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Monitoring</a:t>
            </a:r>
          </a:p>
        </p:txBody>
      </p:sp>
      <p:sp>
        <p:nvSpPr>
          <p:cNvPr id="67" name="Freeform 33"/>
          <p:cNvSpPr>
            <a:spLocks noEditPoints="1"/>
          </p:cNvSpPr>
          <p:nvPr/>
        </p:nvSpPr>
        <p:spPr bwMode="auto">
          <a:xfrm>
            <a:off x="617374" y="2442914"/>
            <a:ext cx="360666" cy="325243"/>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urely provide access to information in Microsoft Graph through a function</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from a real-time analytics pipeline in Stream Analytic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elop functions locally on Linux, MacOS, Window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nitor serverless applications using Application Insights</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04" y="4775182"/>
            <a:ext cx="5560940" cy="1791670"/>
          </a:xfrm>
        </p:spPr>
        <p:txBody>
          <a:bodyPr/>
          <a:lstStyle/>
          <a:p>
            <a:r>
              <a:rPr lang="sv-SE" sz="2800" dirty="0"/>
              <a:t>Henrik Fransas</a:t>
            </a:r>
            <a:br>
              <a:rPr lang="sv-SE" sz="2800" dirty="0"/>
            </a:br>
            <a:br>
              <a:rPr lang="sv-SE" sz="2800" dirty="0"/>
            </a:br>
            <a:r>
              <a:rPr lang="sv-SE" sz="2800" dirty="0"/>
              <a:t>Lab: Episerverless = Azure Functions + Episerver</a:t>
            </a:r>
            <a:br>
              <a:rPr lang="sv-SE" sz="2800" dirty="0"/>
            </a:br>
            <a:br>
              <a:rPr lang="sv-SE" sz="2800" dirty="0"/>
            </a:br>
            <a:r>
              <a:rPr lang="sv-SE" sz="2800" dirty="0"/>
              <a:t>3:15pm today</a:t>
            </a:r>
            <a:br>
              <a:rPr lang="sv-SE" sz="2800" dirty="0"/>
            </a:br>
            <a:r>
              <a:rPr lang="sv-SE" sz="2800" dirty="0"/>
              <a:t>Starvine 13 / 4</a:t>
            </a:r>
          </a:p>
        </p:txBody>
      </p:sp>
      <p:sp>
        <p:nvSpPr>
          <p:cNvPr id="3" name="Text Placeholder 2"/>
          <p:cNvSpPr>
            <a:spLocks noGrp="1"/>
          </p:cNvSpPr>
          <p:nvPr>
            <p:ph type="body" sz="quarter" idx="10"/>
          </p:nvPr>
        </p:nvSpPr>
        <p:spPr/>
        <p:txBody>
          <a:bodyPr/>
          <a:lstStyle/>
          <a:p>
            <a:pPr marL="285750" indent="-285750">
              <a:spcAft>
                <a:spcPts val="1800"/>
              </a:spcAft>
            </a:pPr>
            <a:r>
              <a:rPr lang="en-US" dirty="0"/>
              <a:t>System developer since 1999</a:t>
            </a:r>
          </a:p>
          <a:p>
            <a:pPr marL="285750" indent="-285750">
              <a:spcAft>
                <a:spcPts val="1800"/>
              </a:spcAft>
            </a:pPr>
            <a:r>
              <a:rPr lang="en-US" dirty="0"/>
              <a:t>Episerver Most Valuable Professional (EMVP)</a:t>
            </a:r>
          </a:p>
          <a:p>
            <a:pPr marL="285750" indent="-285750">
              <a:spcAft>
                <a:spcPts val="1800"/>
              </a:spcAft>
            </a:pPr>
            <a:r>
              <a:rPr lang="en-US" dirty="0"/>
              <a:t>Episerver Technical Trainer</a:t>
            </a:r>
          </a:p>
          <a:p>
            <a:pPr marL="285750" indent="-285750">
              <a:spcAft>
                <a:spcPts val="1800"/>
              </a:spcAft>
            </a:pPr>
            <a:r>
              <a:rPr lang="en-US" dirty="0"/>
              <a:t>Azure nerd</a:t>
            </a:r>
          </a:p>
          <a:p>
            <a:pPr marL="285750" indent="-285750">
              <a:spcAft>
                <a:spcPts val="1800"/>
              </a:spcAft>
            </a:pPr>
            <a:r>
              <a:rPr lang="en-US" dirty="0"/>
              <a:t>Works at NetRelations</a:t>
            </a:r>
          </a:p>
        </p:txBody>
      </p:sp>
      <p:pic>
        <p:nvPicPr>
          <p:cNvPr id="19" name="Bildobjekt 18">
            <a:extLst>
              <a:ext uri="{FF2B5EF4-FFF2-40B4-BE49-F238E27FC236}">
                <a16:creationId xmlns:a16="http://schemas.microsoft.com/office/drawing/2014/main" id="{257D776D-2BB6-4684-830B-4F53BBA27A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7126" y="737704"/>
            <a:ext cx="2573541" cy="2536056"/>
          </a:xfrm>
          <a:prstGeom prst="rect">
            <a:avLst/>
          </a:prstGeom>
        </p:spPr>
      </p:pic>
      <p:pic>
        <p:nvPicPr>
          <p:cNvPr id="26" name="Picture 2">
            <a:extLst>
              <a:ext uri="{FF2B5EF4-FFF2-40B4-BE49-F238E27FC236}">
                <a16:creationId xmlns:a16="http://schemas.microsoft.com/office/drawing/2014/main" id="{0E39B4A8-2727-46A2-8517-1C621445B1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470" y="5231816"/>
            <a:ext cx="1102880" cy="11028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413581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46510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86019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70609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81155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78275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65854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58588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53896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36722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27819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33720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57819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52955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814617"/>
            <a:ext cx="741996" cy="14326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439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527075"/>
            <a:ext cx="741996" cy="7202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244009"/>
            <a:ext cx="741996" cy="32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71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rgbClr val="FF3399"/>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994639" y="5297791"/>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rgbClr val="FF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473207" y="4383199"/>
            <a:ext cx="9402" cy="1050059"/>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36382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511941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33644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7199266"/>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3322300" cy="5829288"/>
          </a:xfrm>
        </p:spPr>
        <p:txBody>
          <a:bodyPr/>
          <a:lstStyle/>
          <a:p>
            <a:r>
              <a:rPr lang="en-US" sz="1400" dirty="0"/>
              <a:t>[{</a:t>
            </a:r>
          </a:p>
          <a:p>
            <a:r>
              <a:rPr lang="en-US" sz="1400" dirty="0"/>
              <a:t>   </a:t>
            </a:r>
            <a:r>
              <a:rPr lang="en-US" sz="1400" dirty="0">
                <a:solidFill>
                  <a:srgbClr val="C00000"/>
                </a:solidFill>
              </a:rPr>
              <a:t>"topic"</a:t>
            </a:r>
            <a:r>
              <a:rPr lang="en-US" sz="1400" dirty="0"/>
              <a:t>: </a:t>
            </a:r>
            <a:r>
              <a:rPr lang="en-US" sz="1300" dirty="0">
                <a:solidFill>
                  <a:srgbClr val="004B1C"/>
                </a:solidFill>
              </a:rPr>
              <a:t>"/subscriptions/{subscription-id}/</a:t>
            </a:r>
            <a:r>
              <a:rPr lang="en-US" sz="1300" dirty="0" err="1">
                <a:solidFill>
                  <a:srgbClr val="004B1C"/>
                </a:solidFill>
              </a:rPr>
              <a:t>resourceGroups</a:t>
            </a:r>
            <a:r>
              <a:rPr lang="en-US" sz="1300" dirty="0">
                <a:solidFill>
                  <a:srgbClr val="004B1C"/>
                </a:solidFill>
              </a:rPr>
              <a:t>/ascend/providers/</a:t>
            </a:r>
            <a:r>
              <a:rPr lang="en-US" sz="1300" dirty="0" err="1">
                <a:solidFill>
                  <a:srgbClr val="004B1C"/>
                </a:solidFill>
              </a:rPr>
              <a:t>Microsoft.Storage</a:t>
            </a:r>
            <a:r>
              <a:rPr lang="en-US" sz="1300" dirty="0">
                <a:solidFill>
                  <a:srgbClr val="004B1C"/>
                </a:solidFill>
              </a:rPr>
              <a:t>/</a:t>
            </a:r>
            <a:r>
              <a:rPr lang="en-US" sz="1300" dirty="0" err="1">
                <a:solidFill>
                  <a:srgbClr val="004B1C"/>
                </a:solidFill>
              </a:rPr>
              <a:t>storageAccounts</a:t>
            </a:r>
            <a:r>
              <a:rPr lang="en-US" sz="1300" dirty="0">
                <a:solidFill>
                  <a:srgbClr val="004B1C"/>
                </a:solidFill>
              </a:rPr>
              <a:t>/</a:t>
            </a:r>
            <a:r>
              <a:rPr lang="en-US" sz="1300" dirty="0" err="1">
                <a:solidFill>
                  <a:srgbClr val="004B1C"/>
                </a:solidFill>
              </a:rPr>
              <a:t>mcollierascend</a:t>
            </a:r>
            <a:r>
              <a:rPr lang="en-US" sz="1300" dirty="0">
                <a:solidFill>
                  <a:srgbClr val="004B1C"/>
                </a:solidFill>
              </a:rPr>
              <a:t>"</a:t>
            </a:r>
            <a:r>
              <a:rPr lang="en-US" sz="1300" dirty="0"/>
              <a:t>,</a:t>
            </a:r>
          </a:p>
          <a:p>
            <a:r>
              <a:rPr lang="en-US" sz="1400" dirty="0"/>
              <a:t>   </a:t>
            </a:r>
            <a:r>
              <a:rPr lang="en-US" sz="1400" dirty="0">
                <a:solidFill>
                  <a:srgbClr val="C00000"/>
                </a:solidFill>
              </a:rPr>
              <a:t>"subject"</a:t>
            </a:r>
            <a:r>
              <a:rPr lang="en-US" sz="1400" dirty="0"/>
              <a:t>: </a:t>
            </a:r>
            <a:r>
              <a:rPr lang="en-US" sz="1400" dirty="0">
                <a:solidFill>
                  <a:srgbClr val="004B1C"/>
                </a:solidFill>
              </a:rPr>
              <a:t>"/</a:t>
            </a:r>
            <a:r>
              <a:rPr lang="en-US" sz="1400" dirty="0" err="1">
                <a:solidFill>
                  <a:srgbClr val="004B1C"/>
                </a:solidFill>
              </a:rPr>
              <a:t>blobServices</a:t>
            </a:r>
            <a:r>
              <a:rPr lang="en-US" sz="1400" dirty="0">
                <a:solidFill>
                  <a:srgbClr val="004B1C"/>
                </a:solidFill>
              </a:rPr>
              <a:t>/default/containers/sample/blobs/michael.collier.jpg"</a:t>
            </a:r>
            <a:r>
              <a:rPr lang="en-US" sz="1400" dirty="0"/>
              <a:t>,</a:t>
            </a:r>
          </a:p>
          <a:p>
            <a:r>
              <a:rPr lang="en-US" sz="1400" dirty="0"/>
              <a:t>   </a:t>
            </a:r>
            <a:r>
              <a:rPr lang="en-US" sz="1400" dirty="0">
                <a:solidFill>
                  <a:srgbClr val="C00000"/>
                </a:solidFill>
              </a:rPr>
              <a:t>"</a:t>
            </a:r>
            <a:r>
              <a:rPr lang="en-US" sz="1400" dirty="0" err="1">
                <a:solidFill>
                  <a:srgbClr val="C00000"/>
                </a:solidFill>
              </a:rPr>
              <a:t>event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Microsoft.Storage.BlobCreated</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eventTime</a:t>
            </a:r>
            <a:r>
              <a:rPr lang="en-US" sz="1400" dirty="0">
                <a:solidFill>
                  <a:srgbClr val="C00000"/>
                </a:solidFill>
              </a:rPr>
              <a:t>"</a:t>
            </a:r>
            <a:r>
              <a:rPr lang="en-US" sz="1400" dirty="0"/>
              <a:t>: </a:t>
            </a:r>
            <a:r>
              <a:rPr lang="en-US" sz="1400" dirty="0">
                <a:solidFill>
                  <a:srgbClr val="004B1C"/>
                </a:solidFill>
              </a:rPr>
              <a:t>"2018-03-08T02:32:32.3138466Z"</a:t>
            </a:r>
            <a:r>
              <a:rPr lang="en-US" sz="1400" dirty="0"/>
              <a:t>,</a:t>
            </a:r>
          </a:p>
          <a:p>
            <a:r>
              <a:rPr lang="en-US" sz="1400" dirty="0"/>
              <a:t>   </a:t>
            </a:r>
            <a:r>
              <a:rPr lang="en-US" sz="1400" dirty="0">
                <a:solidFill>
                  <a:srgbClr val="C00000"/>
                </a:solidFill>
              </a:rPr>
              <a:t>"id"</a:t>
            </a:r>
            <a:r>
              <a:rPr lang="en-US" sz="1400" dirty="0"/>
              <a:t>: </a:t>
            </a:r>
            <a:r>
              <a:rPr lang="en-US" sz="1400" dirty="0">
                <a:solidFill>
                  <a:srgbClr val="004B1C"/>
                </a:solidFill>
              </a:rPr>
              <a:t>"60b827dd-701e-010a-2e85-b6ba5f0618c4"</a:t>
            </a:r>
            <a:r>
              <a:rPr lang="en-US" sz="1400" dirty="0"/>
              <a:t>,</a:t>
            </a:r>
          </a:p>
          <a:p>
            <a:r>
              <a:rPr lang="en-US" sz="1400" dirty="0"/>
              <a:t>   </a:t>
            </a:r>
            <a:r>
              <a:rPr lang="en-US" sz="1400" dirty="0">
                <a:solidFill>
                  <a:srgbClr val="C00000"/>
                </a:solidFill>
              </a:rPr>
              <a:t>"data"</a:t>
            </a:r>
            <a:r>
              <a:rPr lang="en-US" sz="1400" dirty="0"/>
              <a:t>: {</a:t>
            </a:r>
          </a:p>
          <a:p>
            <a:r>
              <a:rPr lang="en-US" sz="1400" dirty="0"/>
              <a:t>      </a:t>
            </a:r>
            <a:r>
              <a:rPr lang="en-US" sz="1400" dirty="0">
                <a:solidFill>
                  <a:srgbClr val="C00000"/>
                </a:solidFill>
              </a:rPr>
              <a:t>"</a:t>
            </a:r>
            <a:r>
              <a:rPr lang="en-US" sz="1400" dirty="0" err="1">
                <a:solidFill>
                  <a:srgbClr val="C00000"/>
                </a:solidFill>
              </a:rPr>
              <a:t>api</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PutBlockList</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clientRequestId</a:t>
            </a:r>
            <a:r>
              <a:rPr lang="en-US" sz="1400" dirty="0">
                <a:solidFill>
                  <a:srgbClr val="C00000"/>
                </a:solidFill>
              </a:rPr>
              <a:t>"</a:t>
            </a:r>
            <a:r>
              <a:rPr lang="en-US" sz="1400" dirty="0"/>
              <a:t>: </a:t>
            </a:r>
            <a:r>
              <a:rPr lang="en-US" sz="1400" dirty="0">
                <a:solidFill>
                  <a:srgbClr val="004B1C"/>
                </a:solidFill>
              </a:rPr>
              <a:t>"580ebc71-0b38-4e13-9c3e-5db169ad2032"</a:t>
            </a:r>
            <a:r>
              <a:rPr lang="en-US" sz="1400" dirty="0"/>
              <a:t>,</a:t>
            </a:r>
          </a:p>
          <a:p>
            <a:r>
              <a:rPr lang="en-US" sz="1400" dirty="0"/>
              <a:t>      </a:t>
            </a:r>
            <a:r>
              <a:rPr lang="en-US" sz="1400" dirty="0">
                <a:solidFill>
                  <a:srgbClr val="C00000"/>
                </a:solidFill>
              </a:rPr>
              <a:t>"</a:t>
            </a:r>
            <a:r>
              <a:rPr lang="en-US" sz="1400" dirty="0" err="1">
                <a:solidFill>
                  <a:srgbClr val="C00000"/>
                </a:solidFill>
              </a:rPr>
              <a:t>requestId</a:t>
            </a:r>
            <a:r>
              <a:rPr lang="en-US" sz="1400" dirty="0">
                <a:solidFill>
                  <a:srgbClr val="C00000"/>
                </a:solidFill>
              </a:rPr>
              <a:t>"</a:t>
            </a:r>
            <a:r>
              <a:rPr lang="en-US" sz="1400" dirty="0"/>
              <a:t>: </a:t>
            </a:r>
            <a:r>
              <a:rPr lang="en-US" sz="1400" dirty="0">
                <a:solidFill>
                  <a:srgbClr val="004B1C"/>
                </a:solidFill>
              </a:rPr>
              <a:t>"60b827dd-701e-010a-2e85-b6ba5f000000"</a:t>
            </a:r>
            <a:r>
              <a:rPr lang="en-US" sz="1400" dirty="0"/>
              <a:t>,</a:t>
            </a:r>
          </a:p>
          <a:p>
            <a:r>
              <a:rPr lang="en-US" sz="1400" dirty="0"/>
              <a:t>      </a:t>
            </a:r>
            <a:r>
              <a:rPr lang="en-US" sz="1400" dirty="0">
                <a:solidFill>
                  <a:srgbClr val="C00000"/>
                </a:solidFill>
              </a:rPr>
              <a:t>"</a:t>
            </a:r>
            <a:r>
              <a:rPr lang="en-US" sz="1400" dirty="0" err="1">
                <a:solidFill>
                  <a:srgbClr val="C00000"/>
                </a:solidFill>
              </a:rPr>
              <a:t>eTag</a:t>
            </a:r>
            <a:r>
              <a:rPr lang="en-US" sz="1400" dirty="0">
                <a:solidFill>
                  <a:srgbClr val="C00000"/>
                </a:solidFill>
              </a:rPr>
              <a:t>"</a:t>
            </a:r>
            <a:r>
              <a:rPr lang="en-US" sz="1400" dirty="0"/>
              <a:t>: </a:t>
            </a:r>
            <a:r>
              <a:rPr lang="en-US" sz="1400" dirty="0">
                <a:solidFill>
                  <a:srgbClr val="004B1C"/>
                </a:solidFill>
              </a:rPr>
              <a:t>"0x8D5849CD8572590"</a:t>
            </a:r>
            <a:r>
              <a:rPr lang="en-US" sz="1400" dirty="0"/>
              <a:t>,</a:t>
            </a:r>
          </a:p>
          <a:p>
            <a:r>
              <a:rPr lang="en-US" sz="1400" dirty="0"/>
              <a:t>      </a:t>
            </a:r>
            <a:r>
              <a:rPr lang="en-US" sz="1400" dirty="0">
                <a:solidFill>
                  <a:srgbClr val="C00000"/>
                </a:solidFill>
              </a:rPr>
              <a:t>"</a:t>
            </a:r>
            <a:r>
              <a:rPr lang="en-US" sz="1400" dirty="0" err="1">
                <a:solidFill>
                  <a:srgbClr val="C00000"/>
                </a:solidFill>
              </a:rPr>
              <a:t>contentType</a:t>
            </a:r>
            <a:r>
              <a:rPr lang="en-US" sz="1400" dirty="0">
                <a:solidFill>
                  <a:srgbClr val="C00000"/>
                </a:solidFill>
              </a:rPr>
              <a:t>"</a:t>
            </a:r>
            <a:r>
              <a:rPr lang="en-US" sz="1400" dirty="0"/>
              <a:t>: </a:t>
            </a:r>
            <a:r>
              <a:rPr lang="en-US" sz="1400" dirty="0">
                <a:solidFill>
                  <a:srgbClr val="004B1C"/>
                </a:solidFill>
              </a:rPr>
              <a:t>"image/jpeg"</a:t>
            </a:r>
            <a:r>
              <a:rPr lang="en-US" sz="1400" dirty="0"/>
              <a:t>,</a:t>
            </a:r>
          </a:p>
          <a:p>
            <a:r>
              <a:rPr lang="en-US" sz="1400" dirty="0"/>
              <a:t>      </a:t>
            </a:r>
            <a:r>
              <a:rPr lang="en-US" sz="1400" dirty="0">
                <a:solidFill>
                  <a:srgbClr val="C00000"/>
                </a:solidFill>
              </a:rPr>
              <a:t>"</a:t>
            </a:r>
            <a:r>
              <a:rPr lang="en-US" sz="1400" dirty="0" err="1">
                <a:solidFill>
                  <a:srgbClr val="C00000"/>
                </a:solidFill>
              </a:rPr>
              <a:t>contentLength</a:t>
            </a:r>
            <a:r>
              <a:rPr lang="en-US" sz="1400" dirty="0">
                <a:solidFill>
                  <a:srgbClr val="C00000"/>
                </a:solidFill>
              </a:rPr>
              <a:t>"</a:t>
            </a:r>
            <a:r>
              <a:rPr lang="en-US" sz="1400" dirty="0"/>
              <a:t>: 687245,</a:t>
            </a:r>
          </a:p>
          <a:p>
            <a:r>
              <a:rPr lang="en-US" sz="1400" dirty="0"/>
              <a:t>      </a:t>
            </a:r>
            <a:r>
              <a:rPr lang="en-US" sz="1400" dirty="0">
                <a:solidFill>
                  <a:srgbClr val="C00000"/>
                </a:solidFill>
              </a:rPr>
              <a:t>"</a:t>
            </a:r>
            <a:r>
              <a:rPr lang="en-US" sz="1400" dirty="0" err="1">
                <a:solidFill>
                  <a:srgbClr val="C00000"/>
                </a:solidFill>
              </a:rPr>
              <a:t>blob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BlockBlob</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url</a:t>
            </a:r>
            <a:r>
              <a:rPr lang="en-US" sz="1400" dirty="0">
                <a:solidFill>
                  <a:srgbClr val="C00000"/>
                </a:solidFill>
              </a:rPr>
              <a:t>"</a:t>
            </a:r>
            <a:r>
              <a:rPr lang="en-US" sz="1400" dirty="0"/>
              <a:t>: </a:t>
            </a:r>
            <a:r>
              <a:rPr lang="en-US" sz="1400" dirty="0">
                <a:solidFill>
                  <a:srgbClr val="004B1C"/>
                </a:solidFill>
              </a:rPr>
              <a:t>"https://mcollierascend.blob.core.windows.net/sample/michael.collier.jpg"</a:t>
            </a:r>
            <a:r>
              <a:rPr lang="en-US" sz="1400" dirty="0"/>
              <a:t>,</a:t>
            </a:r>
          </a:p>
          <a:p>
            <a:r>
              <a:rPr lang="en-US" sz="1400" dirty="0"/>
              <a:t>      </a:t>
            </a:r>
            <a:r>
              <a:rPr lang="en-US" sz="1400" dirty="0">
                <a:solidFill>
                  <a:srgbClr val="C00000"/>
                </a:solidFill>
              </a:rPr>
              <a:t>"sequencer"</a:t>
            </a:r>
            <a:r>
              <a:rPr lang="en-US" sz="1400" dirty="0"/>
              <a:t>: </a:t>
            </a:r>
            <a:r>
              <a:rPr lang="en-US" sz="1400" dirty="0">
                <a:solidFill>
                  <a:srgbClr val="004B1C"/>
                </a:solidFill>
              </a:rPr>
              <a:t>"0000000000000000000000000000043C00000000004b90e3"</a:t>
            </a:r>
            <a:r>
              <a:rPr lang="en-US" sz="1400" dirty="0"/>
              <a:t>,</a:t>
            </a:r>
          </a:p>
          <a:p>
            <a:r>
              <a:rPr lang="en-US" sz="1400" dirty="0"/>
              <a:t>      </a:t>
            </a:r>
            <a:r>
              <a:rPr lang="en-US" sz="1400" dirty="0">
                <a:solidFill>
                  <a:srgbClr val="C00000"/>
                </a:solidFill>
              </a:rPr>
              <a:t>"</a:t>
            </a:r>
            <a:r>
              <a:rPr lang="en-US" sz="1400" dirty="0" err="1">
                <a:solidFill>
                  <a:srgbClr val="C00000"/>
                </a:solidFill>
              </a:rPr>
              <a:t>storageDiagnostics</a:t>
            </a:r>
            <a:r>
              <a:rPr lang="en-US" sz="1400" dirty="0">
                <a:solidFill>
                  <a:srgbClr val="C00000"/>
                </a:solidFill>
              </a:rPr>
              <a:t>"</a:t>
            </a:r>
            <a:r>
              <a:rPr lang="en-US" sz="1400" dirty="0"/>
              <a:t>: {</a:t>
            </a:r>
          </a:p>
          <a:p>
            <a:r>
              <a:rPr lang="en-US" sz="1400" dirty="0"/>
              <a:t>         </a:t>
            </a:r>
            <a:r>
              <a:rPr lang="en-US" sz="1400" dirty="0">
                <a:solidFill>
                  <a:srgbClr val="C00000"/>
                </a:solidFill>
              </a:rPr>
              <a:t>"</a:t>
            </a:r>
            <a:r>
              <a:rPr lang="en-US" sz="1400" dirty="0" err="1">
                <a:solidFill>
                  <a:srgbClr val="C00000"/>
                </a:solidFill>
              </a:rPr>
              <a:t>batchId</a:t>
            </a:r>
            <a:r>
              <a:rPr lang="en-US" sz="1400" dirty="0">
                <a:solidFill>
                  <a:srgbClr val="C00000"/>
                </a:solidFill>
              </a:rPr>
              <a:t>"</a:t>
            </a:r>
            <a:r>
              <a:rPr lang="en-US" sz="1400" dirty="0"/>
              <a:t>: </a:t>
            </a:r>
            <a:r>
              <a:rPr lang="en-US" sz="1400" dirty="0">
                <a:solidFill>
                  <a:srgbClr val="004B1C"/>
                </a:solidFill>
              </a:rPr>
              <a:t>"11c2a1b3-013f-4c7a-a31e-cf455a2c7d3f"</a:t>
            </a:r>
          </a:p>
          <a:p>
            <a:r>
              <a:rPr lang="en-US" sz="1400" dirty="0"/>
              <a:t>      }</a:t>
            </a:r>
          </a:p>
          <a:p>
            <a:r>
              <a:rPr lang="en-US" sz="1400" dirty="0"/>
              <a:t>   },</a:t>
            </a:r>
          </a:p>
          <a:p>
            <a:r>
              <a:rPr lang="en-US" sz="1400" dirty="0"/>
              <a:t>   </a:t>
            </a:r>
            <a:r>
              <a:rPr lang="en-US" sz="1400" dirty="0">
                <a:solidFill>
                  <a:srgbClr val="C00000"/>
                </a:solidFill>
              </a:rPr>
              <a:t>"</a:t>
            </a:r>
            <a:r>
              <a:rPr lang="en-US" sz="1400" dirty="0" err="1">
                <a:solidFill>
                  <a:srgbClr val="C00000"/>
                </a:solidFill>
              </a:rPr>
              <a:t>dataVersion</a:t>
            </a:r>
            <a:r>
              <a:rPr lang="en-US" sz="1400" dirty="0">
                <a:solidFill>
                  <a:srgbClr val="C00000"/>
                </a:solidFill>
              </a:rPr>
              <a:t>"</a:t>
            </a:r>
            <a:r>
              <a:rPr lang="en-US" sz="1400" dirty="0"/>
              <a:t>: </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metadataVersion</a:t>
            </a:r>
            <a:r>
              <a:rPr lang="en-US" sz="1400" dirty="0">
                <a:solidFill>
                  <a:srgbClr val="C00000"/>
                </a:solidFill>
              </a:rPr>
              <a:t>"</a:t>
            </a:r>
            <a:r>
              <a:rPr lang="en-US" sz="1400" dirty="0"/>
              <a:t>: </a:t>
            </a:r>
            <a:r>
              <a:rPr lang="en-US" sz="1400" dirty="0">
                <a:solidFill>
                  <a:srgbClr val="004B1C"/>
                </a:solidFill>
              </a:rPr>
              <a:t>"1"</a:t>
            </a:r>
          </a:p>
          <a:p>
            <a:r>
              <a:rPr lang="en-US" sz="1400" dirty="0"/>
              <a:t>}]</a:t>
            </a:r>
          </a:p>
          <a:p>
            <a:endParaRPr lang="en-US" sz="14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gn="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8782050" y="2895600"/>
            <a:ext cx="386174" cy="30225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9083558" y="409034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4" y="2851150"/>
            <a:ext cx="8374475" cy="3067049"/>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torage (GPv2), Service Bus,       IoT Hu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Event Hub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10 major regions (Asia, US, Europe)</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 (soon)</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Handler</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Publish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7" name="Picture 6" descr="A picture containing vector graphics&#10;&#10;Description generated with high confidence">
            <a:extLst>
              <a:ext uri="{FF2B5EF4-FFF2-40B4-BE49-F238E27FC236}">
                <a16:creationId xmlns:a16="http://schemas.microsoft.com/office/drawing/2014/main" id="{6C9AF421-0E93-4E51-9F48-FB1ABF74855F}"/>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912714" y="2338731"/>
            <a:ext cx="418256" cy="418256"/>
          </a:xfrm>
          <a:prstGeom prst="rect">
            <a:avLst/>
          </a:prstGeom>
        </p:spPr>
      </p:pic>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2E79F6A6-AF85-EE41-ADDF-1DBAC9E3838C}"/>
              </a:ext>
            </a:extLst>
          </p:cNvPr>
          <p:cNvSpPr txBox="1"/>
          <p:nvPr/>
        </p:nvSpPr>
        <p:spPr>
          <a:xfrm>
            <a:off x="7640265" y="-13983"/>
            <a:ext cx="468776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hlinkClick r:id="rId11"/>
              </a:rPr>
              <a:t>http://github.com/Azure-Samples/customer-car-reviews</a:t>
            </a:r>
            <a:endParaRPr lang="en-US" sz="1372" dirty="0">
              <a:gradFill>
                <a:gsLst>
                  <a:gs pos="2917">
                    <a:srgbClr val="282828"/>
                  </a:gs>
                  <a:gs pos="30000">
                    <a:srgbClr val="282828"/>
                  </a:gs>
                </a:gsLst>
                <a:lin ang="5400000" scaled="0"/>
              </a:gradFill>
              <a:latin typeface="Segoe UI Semilight"/>
            </a:endParaRPr>
          </a:p>
        </p:txBody>
      </p: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849463"/>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 </a:t>
            </a:r>
            <a:r>
              <a:rPr lang="en-US" sz="4000" b="1" u="sng" dirty="0">
                <a:solidFill>
                  <a:schemeClr val="bg1"/>
                </a:solidFill>
              </a:rPr>
              <a:t>https://aka.ms/ascend-car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6555641"/>
          </a:xfrm>
        </p:spPr>
        <p:txBody>
          <a:bodyPr/>
          <a:lstStyle/>
          <a:p>
            <a:r>
              <a:rPr lang="en-US" sz="3600" dirty="0"/>
              <a:t>https://aka.ms/serverless-demos</a:t>
            </a:r>
          </a:p>
          <a:p>
            <a:r>
              <a:rPr lang="en-US" sz="3600" dirty="0"/>
              <a:t>http://azure.com/EventGrid </a:t>
            </a:r>
          </a:p>
          <a:p>
            <a:r>
              <a:rPr lang="en-US" sz="3600" dirty="0"/>
              <a:t>https://docs.microsoft.com/en-us/sandbox/functions-recipes/</a:t>
            </a:r>
          </a:p>
          <a:p>
            <a:r>
              <a:rPr lang="en-US" sz="3600" dirty="0"/>
              <a:t>https://github.com/Azure/Azure-Functions</a:t>
            </a:r>
          </a:p>
          <a:p>
            <a:r>
              <a:rPr lang="en-US" sz="3600" dirty="0"/>
              <a:t>http://markheath.net/post/azure-functions-choices</a:t>
            </a:r>
          </a:p>
          <a:p>
            <a:endParaRPr lang="en-US" sz="3600" dirty="0"/>
          </a:p>
          <a:p>
            <a:r>
              <a:rPr lang="en-US" sz="3600" dirty="0"/>
              <a:t>https://github.com/mcollier/PRESENTATION-WhatsNewInAzureServerless </a:t>
            </a:r>
          </a:p>
          <a:p>
            <a:endParaRPr lang="en-US" sz="3600" dirty="0"/>
          </a:p>
          <a:p>
            <a:endParaRPr lang="en-US" sz="36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04" y="4775182"/>
            <a:ext cx="5560940" cy="1791670"/>
          </a:xfrm>
        </p:spPr>
        <p:txBody>
          <a:bodyPr/>
          <a:lstStyle/>
          <a:p>
            <a:r>
              <a:rPr lang="sv-SE" sz="2800" dirty="0"/>
              <a:t>Henrik Fransas</a:t>
            </a:r>
            <a:br>
              <a:rPr lang="sv-SE" sz="2800" dirty="0"/>
            </a:br>
            <a:br>
              <a:rPr lang="sv-SE" sz="2800" dirty="0"/>
            </a:br>
            <a:r>
              <a:rPr lang="sv-SE" sz="2800" dirty="0"/>
              <a:t>Lab: Episerverless = Azure Functions + Episerver</a:t>
            </a:r>
            <a:br>
              <a:rPr lang="sv-SE" sz="2800" dirty="0"/>
            </a:br>
            <a:br>
              <a:rPr lang="sv-SE" sz="2800" dirty="0"/>
            </a:br>
            <a:r>
              <a:rPr lang="sv-SE" sz="2800" dirty="0"/>
              <a:t>3:15pm today</a:t>
            </a:r>
            <a:br>
              <a:rPr lang="sv-SE" sz="2800" dirty="0"/>
            </a:br>
            <a:r>
              <a:rPr lang="sv-SE" sz="2800" dirty="0"/>
              <a:t>Starvine 13 / 4</a:t>
            </a:r>
          </a:p>
        </p:txBody>
      </p:sp>
      <p:sp>
        <p:nvSpPr>
          <p:cNvPr id="3" name="Text Placeholder 2"/>
          <p:cNvSpPr>
            <a:spLocks noGrp="1"/>
          </p:cNvSpPr>
          <p:nvPr>
            <p:ph type="body" sz="quarter" idx="10"/>
          </p:nvPr>
        </p:nvSpPr>
        <p:spPr/>
        <p:txBody>
          <a:bodyPr/>
          <a:lstStyle/>
          <a:p>
            <a:pPr marL="285750" indent="-285750">
              <a:spcAft>
                <a:spcPts val="1800"/>
              </a:spcAft>
            </a:pPr>
            <a:r>
              <a:rPr lang="en-US" dirty="0"/>
              <a:t>System developer since 1999</a:t>
            </a:r>
          </a:p>
          <a:p>
            <a:pPr marL="285750" indent="-285750">
              <a:spcAft>
                <a:spcPts val="1800"/>
              </a:spcAft>
            </a:pPr>
            <a:r>
              <a:rPr lang="en-US" dirty="0"/>
              <a:t>Episerver Most Valuable Professional (EMVP)</a:t>
            </a:r>
          </a:p>
          <a:p>
            <a:pPr marL="285750" indent="-285750">
              <a:spcAft>
                <a:spcPts val="1800"/>
              </a:spcAft>
            </a:pPr>
            <a:r>
              <a:rPr lang="en-US" dirty="0"/>
              <a:t>Episerver Technical Trainer</a:t>
            </a:r>
          </a:p>
          <a:p>
            <a:pPr marL="285750" indent="-285750">
              <a:spcAft>
                <a:spcPts val="1800"/>
              </a:spcAft>
            </a:pPr>
            <a:r>
              <a:rPr lang="en-US" dirty="0"/>
              <a:t>Azure nerd</a:t>
            </a:r>
          </a:p>
          <a:p>
            <a:pPr marL="285750" indent="-285750">
              <a:spcAft>
                <a:spcPts val="1800"/>
              </a:spcAft>
            </a:pPr>
            <a:r>
              <a:rPr lang="en-US" dirty="0"/>
              <a:t>Works at NetRelations</a:t>
            </a:r>
          </a:p>
        </p:txBody>
      </p:sp>
      <p:pic>
        <p:nvPicPr>
          <p:cNvPr id="19" name="Bildobjekt 18">
            <a:extLst>
              <a:ext uri="{FF2B5EF4-FFF2-40B4-BE49-F238E27FC236}">
                <a16:creationId xmlns:a16="http://schemas.microsoft.com/office/drawing/2014/main" id="{257D776D-2BB6-4684-830B-4F53BBA27A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7126" y="737704"/>
            <a:ext cx="2573541" cy="2536056"/>
          </a:xfrm>
          <a:prstGeom prst="rect">
            <a:avLst/>
          </a:prstGeom>
        </p:spPr>
      </p:pic>
      <p:pic>
        <p:nvPicPr>
          <p:cNvPr id="26" name="Picture 2">
            <a:extLst>
              <a:ext uri="{FF2B5EF4-FFF2-40B4-BE49-F238E27FC236}">
                <a16:creationId xmlns:a16="http://schemas.microsoft.com/office/drawing/2014/main" id="{0E39B4A8-2727-46A2-8517-1C621445B1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12470" y="5231816"/>
            <a:ext cx="1102880" cy="11028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776121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C1F16C-E0F7-480F-90AA-9FCD484F7CF1}"/>
              </a:ext>
            </a:extLst>
          </p:cNvPr>
          <p:cNvSpPr txBox="1"/>
          <p:nvPr/>
        </p:nvSpPr>
        <p:spPr>
          <a:xfrm>
            <a:off x="0" y="2405062"/>
            <a:ext cx="12192000" cy="3351687"/>
          </a:xfrm>
          <a:prstGeom prst="rect">
            <a:avLst/>
          </a:prstGeom>
          <a:noFill/>
        </p:spPr>
        <p:txBody>
          <a:bodyPr wrap="square" lIns="182880" tIns="146304" rIns="182880" bIns="146304" rtlCol="0">
            <a:spAutoFit/>
          </a:bodyPr>
          <a:lstStyle/>
          <a:p>
            <a:pPr algn="ctr">
              <a:lnSpc>
                <a:spcPct val="90000"/>
              </a:lnSpc>
              <a:spcAft>
                <a:spcPts val="600"/>
              </a:spcAft>
            </a:pPr>
            <a:r>
              <a:rPr lang="en-US" sz="7200" dirty="0">
                <a:gradFill>
                  <a:gsLst>
                    <a:gs pos="2917">
                      <a:schemeClr val="tx1"/>
                    </a:gs>
                    <a:gs pos="30000">
                      <a:schemeClr val="tx1"/>
                    </a:gs>
                  </a:gsLst>
                  <a:lin ang="5400000" scaled="0"/>
                </a:gradFill>
              </a:rPr>
              <a:t>Microsoft Build</a:t>
            </a:r>
          </a:p>
          <a:p>
            <a:pPr algn="ctr">
              <a:lnSpc>
                <a:spcPct val="90000"/>
              </a:lnSpc>
              <a:spcAft>
                <a:spcPts val="600"/>
              </a:spcAft>
            </a:pPr>
            <a:r>
              <a:rPr lang="en-US" sz="4400" dirty="0">
                <a:gradFill>
                  <a:gsLst>
                    <a:gs pos="2917">
                      <a:schemeClr val="tx1"/>
                    </a:gs>
                    <a:gs pos="30000">
                      <a:schemeClr val="tx1"/>
                    </a:gs>
                  </a:gsLst>
                  <a:lin ang="5400000" scaled="0"/>
                </a:gradFill>
              </a:rPr>
              <a:t>May 7-9, 2018  //  Seattle, WA</a:t>
            </a:r>
          </a:p>
          <a:p>
            <a:pPr algn="ctr">
              <a:lnSpc>
                <a:spcPct val="90000"/>
              </a:lnSpc>
              <a:spcAft>
                <a:spcPts val="600"/>
              </a:spcAft>
            </a:pPr>
            <a:endParaRPr lang="en-US" sz="4400" dirty="0">
              <a:gradFill>
                <a:gsLst>
                  <a:gs pos="2917">
                    <a:schemeClr val="tx1"/>
                  </a:gs>
                  <a:gs pos="30000">
                    <a:schemeClr val="tx1"/>
                  </a:gs>
                </a:gsLst>
                <a:lin ang="5400000" scaled="0"/>
              </a:gradFill>
            </a:endParaRPr>
          </a:p>
          <a:p>
            <a:pPr algn="ctr">
              <a:lnSpc>
                <a:spcPct val="90000"/>
              </a:lnSpc>
              <a:spcAft>
                <a:spcPts val="600"/>
              </a:spcAft>
            </a:pPr>
            <a:r>
              <a:rPr lang="en-US" sz="4400" dirty="0">
                <a:gradFill>
                  <a:gsLst>
                    <a:gs pos="2917">
                      <a:schemeClr val="tx1"/>
                    </a:gs>
                    <a:gs pos="30000">
                      <a:schemeClr val="tx1"/>
                    </a:gs>
                  </a:gsLst>
                  <a:lin ang="5400000" scaled="0"/>
                </a:gradFill>
              </a:rPr>
              <a:t>BuildWindows.com</a:t>
            </a:r>
          </a:p>
        </p:txBody>
      </p:sp>
      <p:sp>
        <p:nvSpPr>
          <p:cNvPr id="22" name="Parallelogram 21">
            <a:extLst>
              <a:ext uri="{FF2B5EF4-FFF2-40B4-BE49-F238E27FC236}">
                <a16:creationId xmlns:a16="http://schemas.microsoft.com/office/drawing/2014/main" id="{C7317A8D-A6C0-4A0D-85FD-016C9F91EA50}"/>
              </a:ext>
            </a:extLst>
          </p:cNvPr>
          <p:cNvSpPr/>
          <p:nvPr/>
        </p:nvSpPr>
        <p:spPr bwMode="auto">
          <a:xfrm rot="423976">
            <a:off x="10723510" y="-96522"/>
            <a:ext cx="627794" cy="7058041"/>
          </a:xfrm>
          <a:prstGeom prst="parallelogram">
            <a:avLst>
              <a:gd name="adj" fmla="val 62705"/>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3" name="Parallelogram 22">
            <a:extLst>
              <a:ext uri="{FF2B5EF4-FFF2-40B4-BE49-F238E27FC236}">
                <a16:creationId xmlns:a16="http://schemas.microsoft.com/office/drawing/2014/main" id="{219079FA-D2A4-4C17-969D-B81F585DB34B}"/>
              </a:ext>
            </a:extLst>
          </p:cNvPr>
          <p:cNvSpPr/>
          <p:nvPr/>
        </p:nvSpPr>
        <p:spPr bwMode="auto">
          <a:xfrm rot="423976">
            <a:off x="10371085" y="-96523"/>
            <a:ext cx="627794" cy="7058041"/>
          </a:xfrm>
          <a:prstGeom prst="parallelogram">
            <a:avLst>
              <a:gd name="adj" fmla="val 62705"/>
            </a:avLst>
          </a:prstGeom>
          <a:solidFill>
            <a:srgbClr val="FF339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4" name="Parallelogram 23">
            <a:extLst>
              <a:ext uri="{FF2B5EF4-FFF2-40B4-BE49-F238E27FC236}">
                <a16:creationId xmlns:a16="http://schemas.microsoft.com/office/drawing/2014/main" id="{C8D5118A-05A3-4CA5-AC33-87042FD89015}"/>
              </a:ext>
            </a:extLst>
          </p:cNvPr>
          <p:cNvSpPr/>
          <p:nvPr/>
        </p:nvSpPr>
        <p:spPr bwMode="auto">
          <a:xfrm rot="423976">
            <a:off x="11075935" y="-96524"/>
            <a:ext cx="627794" cy="7058041"/>
          </a:xfrm>
          <a:prstGeom prst="parallelogram">
            <a:avLst>
              <a:gd name="adj" fmla="val 62705"/>
            </a:avLst>
          </a:prstGeom>
          <a:solidFill>
            <a:schemeClr val="tx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72602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18946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Elrätt-case-berlin">
  <a:themeElements>
    <a:clrScheme name="NetRelations">
      <a:dk1>
        <a:sysClr val="windowText" lastClr="000000"/>
      </a:dk1>
      <a:lt1>
        <a:sysClr val="window" lastClr="FFFFFF"/>
      </a:lt1>
      <a:dk2>
        <a:srgbClr val="929292"/>
      </a:dk2>
      <a:lt2>
        <a:srgbClr val="E7E6E6"/>
      </a:lt2>
      <a:accent1>
        <a:srgbClr val="000000"/>
      </a:accent1>
      <a:accent2>
        <a:srgbClr val="FFC222"/>
      </a:accent2>
      <a:accent3>
        <a:srgbClr val="0093D1"/>
      </a:accent3>
      <a:accent4>
        <a:srgbClr val="E1E1E1"/>
      </a:accent4>
      <a:accent5>
        <a:srgbClr val="6DB33F"/>
      </a:accent5>
      <a:accent6>
        <a:srgbClr val="EE3424"/>
      </a:accent6>
      <a:hlink>
        <a:srgbClr val="0563C1"/>
      </a:hlink>
      <a:folHlink>
        <a:srgbClr val="954F72"/>
      </a:folHlink>
    </a:clrScheme>
    <a:fontScheme name="NetRelations">
      <a:majorFont>
        <a:latin typeface="Rockwell"/>
        <a:ea typeface=""/>
        <a:cs typeface=""/>
      </a:majorFont>
      <a:minorFont>
        <a:latin typeface="AvenirNext LT Pro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noAutofit/>
      </a:bodyPr>
      <a:lstStyle>
        <a:defPPr>
          <a:defRPr smtClean="0"/>
        </a:defPPr>
      </a:lstStyle>
    </a:txDef>
  </a:objectDefaults>
  <a:extraClrSchemeLst/>
  <a:extLst>
    <a:ext uri="{05A4C25C-085E-4340-85A3-A5531E510DB2}">
      <thm15:themeFamily xmlns:thm15="http://schemas.microsoft.com/office/thememl/2012/main" name="NetR-PPT-mall-eng" id="{6346F798-996E-A84F-84BE-D35B367E8112}" vid="{ACB25C5A-8935-BE47-9223-2BE495581047}"/>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7.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29</TotalTime>
  <Words>4296</Words>
  <Application>Microsoft Office PowerPoint</Application>
  <PresentationFormat>Widescreen</PresentationFormat>
  <Paragraphs>636</Paragraphs>
  <Slides>37</Slides>
  <Notes>37</Notes>
  <HiddenSlides>2</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37</vt:i4>
      </vt:variant>
    </vt:vector>
  </HeadingPairs>
  <TitlesOfParts>
    <vt:vector size="60" baseType="lpstr">
      <vt:lpstr>Arial</vt:lpstr>
      <vt:lpstr>Avenir Next LT Pro Demi</vt:lpstr>
      <vt:lpstr>AvenirNext LT Pro</vt:lpstr>
      <vt:lpstr>AvenirNext LT Pro Regular</vt:lpstr>
      <vt:lpstr>Calibri</vt:lpstr>
      <vt:lpstr>Calibri Light</vt:lpstr>
      <vt:lpstr>Consolas</vt:lpstr>
      <vt:lpstr>Rockwell</vt:lpstr>
      <vt:lpstr>Rockwell Std Light</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Elrätt-case-berlin</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Serverless application platform components</vt:lpstr>
      <vt:lpstr>PowerPoint Presentation</vt:lpstr>
      <vt:lpstr>PowerPoint Presentation</vt:lpstr>
      <vt:lpstr>Azure Functions</vt:lpstr>
      <vt:lpstr>What is the “Functions” programming model?</vt:lpstr>
      <vt:lpstr>Language Support</vt:lpstr>
      <vt:lpstr>Demo </vt:lpstr>
      <vt:lpstr>PowerPoint Presentation</vt:lpstr>
      <vt:lpstr>PowerPoint Presentation</vt:lpstr>
      <vt:lpstr>What’s new in Azure Functions</vt:lpstr>
      <vt:lpstr>Henrik Fransas  Lab: Episerverless = Azure Functions + Episerver  3:15pm today Starvine 13 / 4</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Demo</vt:lpstr>
      <vt:lpstr>What’s new in Event Grid</vt:lpstr>
      <vt:lpstr>Demo – Altogether</vt:lpstr>
      <vt:lpstr>Resources</vt:lpstr>
      <vt:lpstr>Henrik Fransas  Lab: Episerverless = Azure Functions + Episerver  3:15pm today Starvine 13 / 4</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49</cp:revision>
  <dcterms:created xsi:type="dcterms:W3CDTF">2018-03-07T17:27:49Z</dcterms:created>
  <dcterms:modified xsi:type="dcterms:W3CDTF">2018-03-12T18:4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